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8"/>
  </p:notesMasterIdLst>
  <p:sldIdLst>
    <p:sldId id="539" r:id="rId2"/>
    <p:sldId id="992" r:id="rId3"/>
    <p:sldId id="1008" r:id="rId4"/>
    <p:sldId id="990" r:id="rId5"/>
    <p:sldId id="1009" r:id="rId6"/>
    <p:sldId id="1042" r:id="rId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min" initials="A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2659E"/>
    <a:srgbClr val="006600"/>
    <a:srgbClr val="FFFF99"/>
    <a:srgbClr val="FFFFCC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iểu Trung bình 2 - Màu chủ đề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8474" autoAdjust="0"/>
    <p:restoredTop sz="89302" autoAdjust="0"/>
  </p:normalViewPr>
  <p:slideViewPr>
    <p:cSldViewPr snapToGrid="0">
      <p:cViewPr varScale="1">
        <p:scale>
          <a:sx n="99" d="100"/>
          <a:sy n="99" d="100"/>
        </p:scale>
        <p:origin x="174" y="84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commentAuthors" Target="comment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vi-V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341DDD-128E-4321-B91B-5AB2E13B6BA4}" type="datetimeFigureOut">
              <a:rPr lang="vi-VN" smtClean="0"/>
              <a:t>20/10/2025</a:t>
            </a:fld>
            <a:endParaRPr lang="vi-V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vi-V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vi-V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vi-V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CF36B1A-A1F7-41A4-BA5C-715DCBDE44AD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17793894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F36B1A-A1F7-41A4-BA5C-715DCBDE44AD}" type="slidenum">
              <a:rPr lang="vi-VN" smtClean="0"/>
              <a:t>1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28860723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F36B1A-A1F7-41A4-BA5C-715DCBDE44AD}" type="slidenum">
              <a:rPr lang="vi-VN" smtClean="0"/>
              <a:t>2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21946925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F36B1A-A1F7-41A4-BA5C-715DCBDE44AD}" type="slidenum">
              <a:rPr lang="vi-VN" smtClean="0"/>
              <a:t>3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18781931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F36B1A-A1F7-41A4-BA5C-715DCBDE44AD}" type="slidenum">
              <a:rPr lang="vi-VN" smtClean="0"/>
              <a:t>4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530171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F36B1A-A1F7-41A4-BA5C-715DCBDE44AD}" type="slidenum">
              <a:rPr lang="vi-VN" smtClean="0"/>
              <a:t>5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1081003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F36B1A-A1F7-41A4-BA5C-715DCBDE44AD}" type="slidenum">
              <a:rPr lang="vi-VN" smtClean="0"/>
              <a:t>6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13792172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D0B136-5951-4666-8C06-3711F00296BC}" type="datetime12">
              <a:rPr lang="vi-VN" smtClean="0"/>
              <a:t>16:0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272A52-5E86-4550-9162-D9B4D3B2099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999469-6315-473E-9D9F-9B7D8D9755D0}" type="datetime12">
              <a:rPr lang="vi-VN" smtClean="0"/>
              <a:t>16:0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272A52-5E86-4550-9162-D9B4D3B2099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2F66E7-68F7-49DD-B49D-C478241056D2}" type="datetime12">
              <a:rPr lang="vi-VN" smtClean="0"/>
              <a:t>16:0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272A52-5E86-4550-9162-D9B4D3B2099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E20328-72EE-4B54-8051-65ABBC0E9070}" type="datetime12">
              <a:rPr lang="vi-VN" smtClean="0"/>
              <a:t>16:0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272A52-5E86-4550-9162-D9B4D3B2099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56884A-1406-454D-A97B-990E59F45F7B}" type="datetime12">
              <a:rPr lang="vi-VN" smtClean="0"/>
              <a:t>16:0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272A52-5E86-4550-9162-D9B4D3B2099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3C982-5A9E-4FCB-9DF4-39B95D6FD0D0}" type="datetime12">
              <a:rPr lang="vi-VN" smtClean="0"/>
              <a:t>16:0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272A52-5E86-4550-9162-D9B4D3B2099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9B1555-6A62-42EE-B942-B21D6C6BB33F}" type="datetime12">
              <a:rPr lang="vi-VN" smtClean="0"/>
              <a:t>16:0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272A52-5E86-4550-9162-D9B4D3B2099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4B5C37-53D4-4F6D-8DF7-0A1C549AC28C}" type="datetime12">
              <a:rPr lang="vi-VN" smtClean="0"/>
              <a:t>16:0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272A52-5E86-4550-9162-D9B4D3B2099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7850D-EA6F-4C8F-BF89-3B346CFB99ED}" type="datetime12">
              <a:rPr lang="vi-VN" smtClean="0"/>
              <a:t>16:0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272A52-5E86-4550-9162-D9B4D3B2099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89CAF9-1688-41EC-85EA-7B352020E60F}" type="datetime12">
              <a:rPr lang="vi-VN" smtClean="0"/>
              <a:t>16:0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272A52-5E86-4550-9162-D9B4D3B2099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99A0CE-3A5E-4EBA-AEAF-97D458BC1881}" type="datetime12">
              <a:rPr lang="vi-VN" smtClean="0"/>
              <a:t>16:0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272A52-5E86-4550-9162-D9B4D3B2099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 cstate="print">
            <a:lum/>
          </a:blip>
          <a:srcRect/>
          <a:stretch>
            <a:fillRect t="-10000" b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102AF8-228A-47C6-986B-BFC847698829}" type="datetime12">
              <a:rPr lang="vi-VN" smtClean="0"/>
              <a:t>16:0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272A52-5E86-4550-9162-D9B4D3B2099A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6.png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0C7A309E-AF85-258E-D561-9060D2EFF06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0B5787C-8AEF-49DB-96D3-5F247B110D65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85850" y="-3566038"/>
            <a:ext cx="14363700" cy="143637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DDD55DB-98DE-0A25-5A94-436E71B2CAF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10800000" flipV="1">
            <a:off x="-22008" y="-79718"/>
            <a:ext cx="12191999" cy="5278398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4B6B29E-C395-7998-687B-0B46795EB4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7850D-EA6F-4C8F-BF89-3B346CFB99ED}" type="datetime12">
              <a:rPr lang="vi-VN" smtClean="0"/>
              <a:t>16:07</a:t>
            </a:fld>
            <a:endParaRPr lang="en-US"/>
          </a:p>
        </p:txBody>
      </p:sp>
      <p:sp>
        <p:nvSpPr>
          <p:cNvPr id="5" name="Text">
            <a:extLst>
              <a:ext uri="{FF2B5EF4-FFF2-40B4-BE49-F238E27FC236}">
                <a16:creationId xmlns:a16="http://schemas.microsoft.com/office/drawing/2014/main" id="{AEA22B43-1793-25DB-858F-0EE652A34F0B}"/>
              </a:ext>
            </a:extLst>
          </p:cNvPr>
          <p:cNvSpPr txBox="1"/>
          <p:nvPr/>
        </p:nvSpPr>
        <p:spPr>
          <a:xfrm>
            <a:off x="-22382" y="229958"/>
            <a:ext cx="12236017" cy="461665"/>
          </a:xfrm>
          <a:prstGeom prst="rect">
            <a:avLst/>
          </a:prstGeom>
          <a:noFill/>
          <a:effectLst>
            <a:outerShdw blurRad="12700" dist="127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altLang="zh-CN" sz="2400" spc="94">
                <a:solidFill>
                  <a:srgbClr val="FFFF00"/>
                </a:solidFill>
                <a:latin typeface="Segoe UI" panose="020B0502040204020203" pitchFamily="34" charset="0"/>
                <a:ea typeface="MiSans Heavy" panose="00000A00000000000000" charset="-122"/>
                <a:cs typeface="Segoe UI" panose="020B0502040204020203" pitchFamily="34" charset="0"/>
              </a:rPr>
              <a:t>VĂN PHÒNG TRUNG ƯƠNG ĐẢNG</a:t>
            </a:r>
            <a:endParaRPr kumimoji="0" lang="zh-CN" altLang="en-US" sz="2400" i="0" u="none" strike="noStrike" kern="1200" cap="none" spc="94" normalizeH="0" baseline="0" noProof="0" dirty="0">
              <a:ln>
                <a:noFill/>
              </a:ln>
              <a:solidFill>
                <a:srgbClr val="FFFF00"/>
              </a:solidFill>
              <a:uLnTx/>
              <a:uFillTx/>
              <a:latin typeface="Segoe UI" panose="020B0502040204020203" pitchFamily="34" charset="0"/>
              <a:ea typeface="MiSans Heavy" panose="00000A00000000000000" charset="-122"/>
              <a:cs typeface="Segoe UI" panose="020B0502040204020203" pitchFamily="34" charset="0"/>
            </a:endParaRPr>
          </a:p>
        </p:txBody>
      </p:sp>
      <p:sp>
        <p:nvSpPr>
          <p:cNvPr id="6" name="Text">
            <a:extLst>
              <a:ext uri="{FF2B5EF4-FFF2-40B4-BE49-F238E27FC236}">
                <a16:creationId xmlns:a16="http://schemas.microsoft.com/office/drawing/2014/main" id="{6909E032-D581-7830-F138-79B25D4546D2}"/>
              </a:ext>
            </a:extLst>
          </p:cNvPr>
          <p:cNvSpPr txBox="1"/>
          <p:nvPr/>
        </p:nvSpPr>
        <p:spPr>
          <a:xfrm>
            <a:off x="-10633" y="1829867"/>
            <a:ext cx="12191256" cy="707886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4000" b="1" noProof="0" dirty="0">
                <a:solidFill>
                  <a:srgbClr val="FFFF00"/>
                </a:solidFill>
                <a:effectLst>
                  <a:outerShdw blurRad="25400" dist="12700" dir="2700000" algn="tl" rotWithShape="0">
                    <a:prstClr val="black">
                      <a:alpha val="40000"/>
                    </a:prst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THAM LUẬN</a:t>
            </a:r>
            <a:endParaRPr kumimoji="0" lang="zh-CN" altLang="en-US" sz="4000" b="1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>
                <a:outerShdw blurRad="25400" dist="127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Segoe UI Black" panose="020B0A02040204020203" pitchFamily="34" charset="0"/>
              <a:ea typeface="MiSans Heavy" panose="00000A00000000000000" charset="-122"/>
              <a:cs typeface="Segoe UI" panose="020B0502040204020203" pitchFamily="34" charset="0"/>
            </a:endParaRPr>
          </a:p>
        </p:txBody>
      </p:sp>
      <p:sp>
        <p:nvSpPr>
          <p:cNvPr id="7" name="Text">
            <a:extLst>
              <a:ext uri="{FF2B5EF4-FFF2-40B4-BE49-F238E27FC236}">
                <a16:creationId xmlns:a16="http://schemas.microsoft.com/office/drawing/2014/main" id="{F567780A-4711-F5EC-F20F-72A10CD0C8FF}"/>
              </a:ext>
            </a:extLst>
          </p:cNvPr>
          <p:cNvSpPr txBox="1"/>
          <p:nvPr/>
        </p:nvSpPr>
        <p:spPr>
          <a:xfrm>
            <a:off x="-33014" y="647242"/>
            <a:ext cx="12236018" cy="461665"/>
          </a:xfrm>
          <a:prstGeom prst="rect">
            <a:avLst/>
          </a:prstGeom>
          <a:noFill/>
          <a:effectLst>
            <a:outerShdw blurRad="12700" dist="127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2400" b="1" spc="94">
                <a:solidFill>
                  <a:srgbClr val="FFFF00"/>
                </a:solidFill>
                <a:latin typeface="Segoe UI" panose="020B0502040204020203" pitchFamily="34" charset="0"/>
                <a:ea typeface="MiSans Heavy" panose="00000A00000000000000" charset="-122"/>
                <a:cs typeface="Segoe UI" panose="020B0502040204020203" pitchFamily="34" charset="0"/>
              </a:rPr>
              <a:t>CỤC CHUYỂN ĐỔI SỐ - CƠ YẾU</a:t>
            </a:r>
            <a:endParaRPr kumimoji="0" lang="zh-CN" altLang="en-US" sz="2400" b="1" i="0" u="none" strike="noStrike" kern="1200" cap="none" spc="94" normalizeH="0" baseline="0" noProof="0" dirty="0">
              <a:ln>
                <a:noFill/>
              </a:ln>
              <a:solidFill>
                <a:srgbClr val="FFFF00"/>
              </a:solidFill>
              <a:uLnTx/>
              <a:uFillTx/>
              <a:latin typeface="Segoe UI" panose="020B0502040204020203" pitchFamily="34" charset="0"/>
              <a:ea typeface="MiSans Heavy" panose="00000A00000000000000" charset="-122"/>
              <a:cs typeface="Segoe UI" panose="020B05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2036C0-04AF-FCF0-49A2-AACF4859E292}"/>
              </a:ext>
            </a:extLst>
          </p:cNvPr>
          <p:cNvSpPr txBox="1"/>
          <p:nvPr/>
        </p:nvSpPr>
        <p:spPr>
          <a:xfrm>
            <a:off x="3649878" y="4909068"/>
            <a:ext cx="484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i="1" dirty="0">
                <a:solidFill>
                  <a:srgbClr val="FFFF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à </a:t>
            </a:r>
            <a:r>
              <a:rPr lang="en-US" b="1" i="1" dirty="0" err="1">
                <a:solidFill>
                  <a:srgbClr val="FFFF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ội</a:t>
            </a:r>
            <a:r>
              <a:rPr lang="en-US" b="1" i="1" dirty="0">
                <a:solidFill>
                  <a:srgbClr val="FFFF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b="1" i="1" err="1">
                <a:solidFill>
                  <a:srgbClr val="FFFF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gày</a:t>
            </a:r>
            <a:r>
              <a:rPr lang="en-US" b="1" i="1">
                <a:solidFill>
                  <a:srgbClr val="FFFF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21 </a:t>
            </a:r>
            <a:r>
              <a:rPr lang="en-US" b="1" i="1" err="1">
                <a:solidFill>
                  <a:srgbClr val="FFFF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áng</a:t>
            </a:r>
            <a:r>
              <a:rPr lang="en-US" b="1" i="1">
                <a:solidFill>
                  <a:srgbClr val="FFFF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10 </a:t>
            </a:r>
            <a:r>
              <a:rPr lang="en-US" b="1" i="1" dirty="0" err="1">
                <a:solidFill>
                  <a:srgbClr val="FFFF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ăm</a:t>
            </a:r>
            <a:r>
              <a:rPr lang="en-US" b="1" i="1" dirty="0">
                <a:solidFill>
                  <a:srgbClr val="FFFF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2025</a:t>
            </a:r>
            <a:endParaRPr lang="vi-VN" b="1" i="1" dirty="0">
              <a:solidFill>
                <a:srgbClr val="FFFF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FD20E75-92FF-AD9D-5B7C-5246AB0F69F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0" r="748" b="50894"/>
          <a:stretch/>
        </p:blipFill>
        <p:spPr>
          <a:xfrm>
            <a:off x="-22008" y="5543865"/>
            <a:ext cx="12214008" cy="132343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B0B58DC-3C02-753C-2202-D911F7635BF0}"/>
              </a:ext>
            </a:extLst>
          </p:cNvPr>
          <p:cNvSpPr txBox="1"/>
          <p:nvPr/>
        </p:nvSpPr>
        <p:spPr>
          <a:xfrm>
            <a:off x="1615149" y="2778132"/>
            <a:ext cx="931296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00"/>
              </a:spcBef>
              <a:spcAft>
                <a:spcPts val="1200"/>
              </a:spcAft>
            </a:pPr>
            <a:r>
              <a:rPr lang="en-US" sz="2800" b="1">
                <a:solidFill>
                  <a:srgbClr val="FFFF0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NHỮNG VẤN ĐỀ ĐẶT RA ĐỐI VỚI CHUYỂN ĐỔI SỐ TRONG HỆ THỐNG CHÍNH TRỊ</a:t>
            </a:r>
            <a:br>
              <a:rPr lang="en-US" sz="2800" b="1">
                <a:solidFill>
                  <a:srgbClr val="FFFF0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</a:br>
            <a:r>
              <a:rPr lang="en-US" sz="2800" b="1">
                <a:solidFill>
                  <a:srgbClr val="FFFF0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CƠ HỘI VÀ THÁCH THỨC</a:t>
            </a:r>
            <a:endParaRPr lang="en-US" sz="2800">
              <a:solidFill>
                <a:srgbClr val="FFFF00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5" name="Picture 14" descr="A light in the dark&#10;&#10;AI-generated content may be incorrect.">
            <a:extLst>
              <a:ext uri="{FF2B5EF4-FFF2-40B4-BE49-F238E27FC236}">
                <a16:creationId xmlns:a16="http://schemas.microsoft.com/office/drawing/2014/main" id="{0053A9F1-5A76-40C7-BE9D-38ED0778477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95" r="21649"/>
          <a:stretch>
            <a:fillRect/>
          </a:stretch>
        </p:blipFill>
        <p:spPr>
          <a:xfrm rot="18871736">
            <a:off x="4527339" y="5572632"/>
            <a:ext cx="2318877" cy="2294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23818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" dur="13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" dur="22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22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2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2C4649-4DC4-5085-0D20-3EFBBF0592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Rectangle 147">
            <a:extLst>
              <a:ext uri="{FF2B5EF4-FFF2-40B4-BE49-F238E27FC236}">
                <a16:creationId xmlns:a16="http://schemas.microsoft.com/office/drawing/2014/main" id="{C3B33B83-D58D-4FC9-AADE-E433CB23B2C6}"/>
              </a:ext>
            </a:extLst>
          </p:cNvPr>
          <p:cNvSpPr/>
          <p:nvPr/>
        </p:nvSpPr>
        <p:spPr>
          <a:xfrm>
            <a:off x="765918" y="3170778"/>
            <a:ext cx="2202428" cy="173997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AE2036B3-E992-6278-1D5B-82B738834681}"/>
              </a:ext>
            </a:extLst>
          </p:cNvPr>
          <p:cNvCxnSpPr>
            <a:cxnSpLocks/>
          </p:cNvCxnSpPr>
          <p:nvPr/>
        </p:nvCxnSpPr>
        <p:spPr>
          <a:xfrm>
            <a:off x="58747" y="3948217"/>
            <a:ext cx="12192000" cy="0"/>
          </a:xfrm>
          <a:prstGeom prst="line">
            <a:avLst/>
          </a:prstGeom>
          <a:ln w="15240">
            <a:gradFill>
              <a:gsLst>
                <a:gs pos="0">
                  <a:srgbClr val="EB1C24"/>
                </a:gs>
                <a:gs pos="100000">
                  <a:srgbClr val="B41E23"/>
                </a:gs>
              </a:gsLst>
              <a:lin ang="5400000" scaled="1"/>
            </a:gra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A white and orange striped surface&#10;&#10;Description automatically generated">
            <a:extLst>
              <a:ext uri="{FF2B5EF4-FFF2-40B4-BE49-F238E27FC236}">
                <a16:creationId xmlns:a16="http://schemas.microsoft.com/office/drawing/2014/main" id="{2A470024-5F50-F5EC-3704-DC57BDDBDF2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4602" cy="8012630"/>
          </a:xfrm>
          <a:prstGeom prst="rect">
            <a:avLst/>
          </a:prstGeom>
        </p:spPr>
      </p:pic>
      <p:sp>
        <p:nvSpPr>
          <p:cNvPr id="149" name="TextBox 148">
            <a:extLst>
              <a:ext uri="{FF2B5EF4-FFF2-40B4-BE49-F238E27FC236}">
                <a16:creationId xmlns:a16="http://schemas.microsoft.com/office/drawing/2014/main" id="{BB4ADCC4-3A3E-4214-91E5-575D154E19A4}"/>
              </a:ext>
            </a:extLst>
          </p:cNvPr>
          <p:cNvSpPr txBox="1"/>
          <p:nvPr/>
        </p:nvSpPr>
        <p:spPr>
          <a:xfrm>
            <a:off x="79121" y="431978"/>
            <a:ext cx="12138554" cy="596771"/>
          </a:xfrm>
          <a:prstGeom prst="rect">
            <a:avLst/>
          </a:prstGeom>
          <a:noFill/>
          <a:effectLst>
            <a:outerShdw blurRad="12700" dist="127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40" tIns="45720" rIns="91440" bIns="57600" rtlCol="0">
            <a:spAutoFit/>
          </a:bodyPr>
          <a:lstStyle/>
          <a:p>
            <a:pPr lvl="0" algn="ctr">
              <a:defRPr/>
            </a:pPr>
            <a:r>
              <a:rPr lang="en-US" altLang="zh-CN" sz="3200" b="1" noProof="0">
                <a:solidFill>
                  <a:srgbClr val="C0000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MỘT SỐ KẾT QUẢ BƯỚC ĐẦU</a:t>
            </a:r>
            <a:endParaRPr kumimoji="0" lang="zh-CN" altLang="en-US" sz="3200" b="1" i="0" u="none" strike="noStrike" kern="1200" cap="none" spc="94" normalizeH="0" baseline="0" noProof="0" dirty="0">
              <a:ln>
                <a:noFill/>
              </a:ln>
              <a:solidFill>
                <a:srgbClr val="C00000"/>
              </a:solidFill>
              <a:uLnTx/>
              <a:uFillTx/>
              <a:latin typeface="Segoe UI Black" panose="020B0A02040204020203" pitchFamily="34" charset="0"/>
              <a:ea typeface="MiSans Heavy" panose="00000A00000000000000" charset="-122"/>
              <a:cs typeface="Segoe UI" panose="020B0502040204020203" pitchFamily="34" charset="0"/>
            </a:endParaRPr>
          </a:p>
        </p:txBody>
      </p:sp>
      <p:sp>
        <p:nvSpPr>
          <p:cNvPr id="21" name="Rounded Rectangle 4">
            <a:extLst>
              <a:ext uri="{FF2B5EF4-FFF2-40B4-BE49-F238E27FC236}">
                <a16:creationId xmlns:a16="http://schemas.microsoft.com/office/drawing/2014/main" id="{AF8AB355-D351-47D9-AD51-14B67E43CF46}"/>
              </a:ext>
            </a:extLst>
          </p:cNvPr>
          <p:cNvSpPr/>
          <p:nvPr/>
        </p:nvSpPr>
        <p:spPr>
          <a:xfrm>
            <a:off x="308933" y="2169152"/>
            <a:ext cx="2721835" cy="3935932"/>
          </a:xfrm>
          <a:prstGeom prst="roundRect">
            <a:avLst>
              <a:gd name="adj" fmla="val 7734"/>
            </a:avLst>
          </a:prstGeom>
          <a:solidFill>
            <a:schemeClr val="bg1"/>
          </a:solidFill>
          <a:ln w="25400">
            <a:solidFill>
              <a:schemeClr val="bg1">
                <a:lumMod val="50000"/>
              </a:schemeClr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 sz="270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925CA9F-BF12-43E8-8237-7C933AA2717E}"/>
              </a:ext>
            </a:extLst>
          </p:cNvPr>
          <p:cNvSpPr txBox="1"/>
          <p:nvPr/>
        </p:nvSpPr>
        <p:spPr>
          <a:xfrm>
            <a:off x="346169" y="3332095"/>
            <a:ext cx="2687828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vi-VN" sz="2000">
                <a:latin typeface="Segoe UI" panose="020B0502040204020203" pitchFamily="34" charset="0"/>
                <a:cs typeface="Segoe UI" panose="020B0502040204020203" pitchFamily="34" charset="0"/>
              </a:rPr>
              <a:t>Thể chế, </a:t>
            </a: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vi-VN" sz="2000">
                <a:latin typeface="Segoe UI" panose="020B0502040204020203" pitchFamily="34" charset="0"/>
                <a:cs typeface="Segoe UI" panose="020B0502040204020203" pitchFamily="34" charset="0"/>
              </a:rPr>
              <a:t>chính sách được </a:t>
            </a: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vi-VN" sz="2000" b="1">
                <a:latin typeface="Segoe UI" panose="020B0502040204020203" pitchFamily="34" charset="0"/>
                <a:cs typeface="Segoe UI" panose="020B0502040204020203" pitchFamily="34" charset="0"/>
              </a:rPr>
              <a:t>hoàn thiện dần</a:t>
            </a:r>
            <a:r>
              <a:rPr lang="vi-VN" sz="200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vi-VN" sz="2000">
                <a:latin typeface="Segoe UI" panose="020B0502040204020203" pitchFamily="34" charset="0"/>
                <a:cs typeface="Segoe UI" panose="020B0502040204020203" pitchFamily="34" charset="0"/>
              </a:rPr>
              <a:t>→ </a:t>
            </a:r>
            <a:r>
              <a:rPr lang="vi-VN" sz="2000" u="sng">
                <a:latin typeface="Segoe UI" panose="020B0502040204020203" pitchFamily="34" charset="0"/>
                <a:cs typeface="Segoe UI" panose="020B0502040204020203" pitchFamily="34" charset="0"/>
              </a:rPr>
              <a:t>tạo hành lang</a:t>
            </a:r>
            <a:r>
              <a:rPr lang="vi-VN" sz="200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vi-VN" sz="2000">
                <a:latin typeface="Segoe UI" panose="020B0502040204020203" pitchFamily="34" charset="0"/>
                <a:cs typeface="Segoe UI" panose="020B0502040204020203" pitchFamily="34" charset="0"/>
              </a:rPr>
              <a:t>pháp lý cho </a:t>
            </a: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>chuyển đổi số</a:t>
            </a:r>
            <a:r>
              <a:rPr lang="vi-VN" sz="200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vi-VN" sz="2000">
                <a:latin typeface="Segoe UI" panose="020B0502040204020203" pitchFamily="34" charset="0"/>
                <a:cs typeface="Segoe UI" panose="020B0502040204020203" pitchFamily="34" charset="0"/>
              </a:rPr>
              <a:t>toàn hệ </a:t>
            </a:r>
            <a:r>
              <a:rPr lang="vi-VN" sz="2000" smtClean="0">
                <a:latin typeface="Segoe UI" panose="020B0502040204020203" pitchFamily="34" charset="0"/>
                <a:cs typeface="Segoe UI" panose="020B0502040204020203" pitchFamily="34" charset="0"/>
              </a:rPr>
              <a:t>thống</a:t>
            </a:r>
            <a:r>
              <a:rPr lang="en-US" sz="2000" smtClean="0"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en-US" sz="2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Right Arrow 6">
            <a:extLst>
              <a:ext uri="{FF2B5EF4-FFF2-40B4-BE49-F238E27FC236}">
                <a16:creationId xmlns:a16="http://schemas.microsoft.com/office/drawing/2014/main" id="{98CFBD40-7F0B-418B-9F13-EBA69EDF69B3}"/>
              </a:ext>
            </a:extLst>
          </p:cNvPr>
          <p:cNvSpPr/>
          <p:nvPr/>
        </p:nvSpPr>
        <p:spPr>
          <a:xfrm>
            <a:off x="308934" y="2194264"/>
            <a:ext cx="2312214" cy="866103"/>
          </a:xfrm>
          <a:prstGeom prst="rightArrow">
            <a:avLst>
              <a:gd name="adj1" fmla="val 65118"/>
              <a:gd name="adj2" fmla="val 83626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2200" b="1">
                <a:latin typeface="Segoe UI" panose="020B0502040204020203" pitchFamily="34" charset="0"/>
                <a:cs typeface="Segoe UI" panose="020B0502040204020203" pitchFamily="34" charset="0"/>
              </a:rPr>
              <a:t>Thể chế</a:t>
            </a:r>
            <a:endParaRPr lang="ko-KR" altLang="en-US" sz="2200" b="1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EDF98BB-2DD5-4D1E-8287-66F1E0C780B8}"/>
              </a:ext>
            </a:extLst>
          </p:cNvPr>
          <p:cNvSpPr txBox="1"/>
          <p:nvPr/>
        </p:nvSpPr>
        <p:spPr>
          <a:xfrm>
            <a:off x="1880000" y="2396411"/>
            <a:ext cx="6641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b="1" dirty="0">
                <a:solidFill>
                  <a:schemeClr val="bg1"/>
                </a:solidFill>
                <a:cs typeface="Arial" pitchFamily="34" charset="0"/>
              </a:rPr>
              <a:t>01</a:t>
            </a:r>
            <a:endParaRPr lang="ko-KR" altLang="en-US" sz="28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5" name="Rounded Rectangle 64">
            <a:extLst>
              <a:ext uri="{FF2B5EF4-FFF2-40B4-BE49-F238E27FC236}">
                <a16:creationId xmlns:a16="http://schemas.microsoft.com/office/drawing/2014/main" id="{A137BD99-C28B-4C18-8759-BA8DD12BB101}"/>
              </a:ext>
            </a:extLst>
          </p:cNvPr>
          <p:cNvSpPr/>
          <p:nvPr/>
        </p:nvSpPr>
        <p:spPr>
          <a:xfrm>
            <a:off x="3240255" y="2211398"/>
            <a:ext cx="2758005" cy="3894793"/>
          </a:xfrm>
          <a:prstGeom prst="roundRect">
            <a:avLst>
              <a:gd name="adj" fmla="val 7734"/>
            </a:avLst>
          </a:prstGeom>
          <a:solidFill>
            <a:schemeClr val="bg1"/>
          </a:solidFill>
          <a:ln w="25400">
            <a:solidFill>
              <a:srgbClr val="FFC000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 sz="270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8D16C2C-087C-44A6-9F01-A8543552373D}"/>
              </a:ext>
            </a:extLst>
          </p:cNvPr>
          <p:cNvSpPr txBox="1"/>
          <p:nvPr/>
        </p:nvSpPr>
        <p:spPr>
          <a:xfrm>
            <a:off x="3282255" y="3332095"/>
            <a:ext cx="2737835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vi-VN" sz="2000" b="1">
                <a:latin typeface="Segoe UI" panose="020B0502040204020203" pitchFamily="34" charset="0"/>
                <a:cs typeface="Segoe UI" panose="020B0502040204020203" pitchFamily="34" charset="0"/>
              </a:rPr>
              <a:t>Hạ tầng số</a:t>
            </a:r>
            <a:r>
              <a:rPr lang="vi-VN" sz="200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vi-VN" sz="2000">
                <a:latin typeface="Segoe UI" panose="020B0502040204020203" pitchFamily="34" charset="0"/>
                <a:cs typeface="Segoe UI" panose="020B0502040204020203" pitchFamily="34" charset="0"/>
              </a:rPr>
              <a:t>của Đảng, Nhà nước, MTTQ, đoàn thể </a:t>
            </a: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vi-VN" sz="2000">
                <a:latin typeface="Segoe UI" panose="020B0502040204020203" pitchFamily="34" charset="0"/>
                <a:cs typeface="Segoe UI" panose="020B0502040204020203" pitchFamily="34" charset="0"/>
              </a:rPr>
              <a:t>được </a:t>
            </a:r>
            <a:r>
              <a:rPr lang="vi-VN" sz="2000" u="sng">
                <a:latin typeface="Segoe UI" panose="020B0502040204020203" pitchFamily="34" charset="0"/>
                <a:cs typeface="Segoe UI" panose="020B0502040204020203" pitchFamily="34" charset="0"/>
              </a:rPr>
              <a:t>củng cố</a:t>
            </a:r>
            <a:r>
              <a:rPr lang="vi-VN" sz="2000">
                <a:latin typeface="Segoe UI" panose="020B0502040204020203" pitchFamily="34" charset="0"/>
                <a:cs typeface="Segoe UI" panose="020B0502040204020203" pitchFamily="34" charset="0"/>
              </a:rPr>
              <a:t>; </a:t>
            </a: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vi-VN" sz="2000" b="1">
                <a:latin typeface="Segoe UI" panose="020B0502040204020203" pitchFamily="34" charset="0"/>
                <a:cs typeface="Segoe UI" panose="020B0502040204020203" pitchFamily="34" charset="0"/>
              </a:rPr>
              <a:t>mạng truyền số liệu chuyên dùng</a:t>
            </a:r>
            <a:r>
              <a:rPr lang="vi-VN" sz="200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vi-VN" sz="2000">
                <a:latin typeface="Segoe UI" panose="020B0502040204020203" pitchFamily="34" charset="0"/>
                <a:cs typeface="Segoe UI" panose="020B0502040204020203" pitchFamily="34" charset="0"/>
              </a:rPr>
              <a:t>kết nối </a:t>
            </a: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vi-VN" sz="2000">
                <a:latin typeface="Segoe UI" panose="020B0502040204020203" pitchFamily="34" charset="0"/>
                <a:cs typeface="Segoe UI" panose="020B0502040204020203" pitchFamily="34" charset="0"/>
              </a:rPr>
              <a:t>thống suốt.</a:t>
            </a:r>
            <a:endParaRPr lang="en-US" sz="2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2" name="Right Arrow 66">
            <a:extLst>
              <a:ext uri="{FF2B5EF4-FFF2-40B4-BE49-F238E27FC236}">
                <a16:creationId xmlns:a16="http://schemas.microsoft.com/office/drawing/2014/main" id="{4371EC05-D12D-427A-8F24-1292CC4D4BBC}"/>
              </a:ext>
            </a:extLst>
          </p:cNvPr>
          <p:cNvSpPr/>
          <p:nvPr/>
        </p:nvSpPr>
        <p:spPr>
          <a:xfrm>
            <a:off x="3252333" y="2238047"/>
            <a:ext cx="2400769" cy="866103"/>
          </a:xfrm>
          <a:prstGeom prst="rightArrow">
            <a:avLst>
              <a:gd name="adj1" fmla="val 65118"/>
              <a:gd name="adj2" fmla="val 84614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2200" b="1">
                <a:latin typeface="Segoe UI" panose="020B0502040204020203" pitchFamily="34" charset="0"/>
                <a:cs typeface="Segoe UI" panose="020B0502040204020203" pitchFamily="34" charset="0"/>
              </a:rPr>
              <a:t>Hạ tầng số</a:t>
            </a:r>
            <a:endParaRPr lang="ko-KR" altLang="en-US" sz="2200" b="1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9E93E22-E849-4B5C-A17C-47EEF54E026A}"/>
              </a:ext>
            </a:extLst>
          </p:cNvPr>
          <p:cNvSpPr txBox="1"/>
          <p:nvPr/>
        </p:nvSpPr>
        <p:spPr>
          <a:xfrm>
            <a:off x="4921582" y="2424347"/>
            <a:ext cx="65272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b="1" dirty="0">
                <a:solidFill>
                  <a:schemeClr val="bg1"/>
                </a:solidFill>
                <a:cs typeface="Arial" pitchFamily="34" charset="0"/>
              </a:rPr>
              <a:t>02</a:t>
            </a:r>
            <a:endParaRPr lang="ko-KR" altLang="en-US" sz="28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34" name="Rounded Rectangle 71">
            <a:extLst>
              <a:ext uri="{FF2B5EF4-FFF2-40B4-BE49-F238E27FC236}">
                <a16:creationId xmlns:a16="http://schemas.microsoft.com/office/drawing/2014/main" id="{D9EBCCA7-F32C-462F-B1C9-0F1E1C6ECC61}"/>
              </a:ext>
            </a:extLst>
          </p:cNvPr>
          <p:cNvSpPr/>
          <p:nvPr/>
        </p:nvSpPr>
        <p:spPr>
          <a:xfrm>
            <a:off x="6193286" y="2190670"/>
            <a:ext cx="2795196" cy="3910791"/>
          </a:xfrm>
          <a:prstGeom prst="roundRect">
            <a:avLst>
              <a:gd name="adj" fmla="val 7734"/>
            </a:avLst>
          </a:prstGeom>
          <a:solidFill>
            <a:schemeClr val="bg1"/>
          </a:solidFill>
          <a:ln w="25400">
            <a:solidFill>
              <a:srgbClr val="C00000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 sz="2700" dirty="0"/>
          </a:p>
        </p:txBody>
      </p:sp>
      <p:sp>
        <p:nvSpPr>
          <p:cNvPr id="36" name="Right Arrow 73">
            <a:extLst>
              <a:ext uri="{FF2B5EF4-FFF2-40B4-BE49-F238E27FC236}">
                <a16:creationId xmlns:a16="http://schemas.microsoft.com/office/drawing/2014/main" id="{D968A4CF-9499-4C48-8E78-592E431F0E9A}"/>
              </a:ext>
            </a:extLst>
          </p:cNvPr>
          <p:cNvSpPr/>
          <p:nvPr/>
        </p:nvSpPr>
        <p:spPr>
          <a:xfrm>
            <a:off x="6202588" y="2227113"/>
            <a:ext cx="2405470" cy="866103"/>
          </a:xfrm>
          <a:prstGeom prst="rightArrow">
            <a:avLst>
              <a:gd name="adj1" fmla="val 65118"/>
              <a:gd name="adj2" fmla="val 84615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>
                <a:latin typeface="Segoe UI" panose="020B0502040204020203" pitchFamily="34" charset="0"/>
                <a:cs typeface="Segoe UI" panose="020B0502040204020203" pitchFamily="34" charset="0"/>
              </a:rPr>
              <a:t>Đề án </a:t>
            </a:r>
          </a:p>
          <a:p>
            <a:pPr algn="ctr"/>
            <a:r>
              <a:rPr lang="en-US" sz="2000" b="1">
                <a:latin typeface="Segoe UI" panose="020B0502040204020203" pitchFamily="34" charset="0"/>
                <a:cs typeface="Segoe UI" panose="020B0502040204020203" pitchFamily="34" charset="0"/>
              </a:rPr>
              <a:t>204-QĐ/TW</a:t>
            </a:r>
            <a:endParaRPr lang="ko-KR" altLang="en-US" sz="20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B1B1BFD-1BFE-4BE1-B2DB-D05902048F88}"/>
              </a:ext>
            </a:extLst>
          </p:cNvPr>
          <p:cNvSpPr txBox="1"/>
          <p:nvPr/>
        </p:nvSpPr>
        <p:spPr>
          <a:xfrm>
            <a:off x="7900808" y="2424346"/>
            <a:ext cx="55229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b="1" dirty="0">
                <a:solidFill>
                  <a:schemeClr val="bg1"/>
                </a:solidFill>
                <a:cs typeface="Arial" pitchFamily="34" charset="0"/>
              </a:rPr>
              <a:t>03</a:t>
            </a:r>
            <a:endParaRPr lang="ko-KR" altLang="en-US" sz="28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38" name="Rounded Rectangle 4">
            <a:extLst>
              <a:ext uri="{FF2B5EF4-FFF2-40B4-BE49-F238E27FC236}">
                <a16:creationId xmlns:a16="http://schemas.microsoft.com/office/drawing/2014/main" id="{75083618-E055-4109-B016-507DB8809DCD}"/>
              </a:ext>
            </a:extLst>
          </p:cNvPr>
          <p:cNvSpPr/>
          <p:nvPr/>
        </p:nvSpPr>
        <p:spPr>
          <a:xfrm>
            <a:off x="9171356" y="2200729"/>
            <a:ext cx="2740473" cy="3935932"/>
          </a:xfrm>
          <a:prstGeom prst="roundRect">
            <a:avLst>
              <a:gd name="adj" fmla="val 7734"/>
            </a:avLst>
          </a:prstGeom>
          <a:solidFill>
            <a:schemeClr val="bg1"/>
          </a:solidFill>
          <a:ln w="25400">
            <a:solidFill>
              <a:srgbClr val="006600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 sz="2700"/>
          </a:p>
        </p:txBody>
      </p:sp>
      <p:sp>
        <p:nvSpPr>
          <p:cNvPr id="39" name="Right Arrow 6">
            <a:extLst>
              <a:ext uri="{FF2B5EF4-FFF2-40B4-BE49-F238E27FC236}">
                <a16:creationId xmlns:a16="http://schemas.microsoft.com/office/drawing/2014/main" id="{74226E94-E158-4AB4-BDE7-C3B763F8674F}"/>
              </a:ext>
            </a:extLst>
          </p:cNvPr>
          <p:cNvSpPr/>
          <p:nvPr/>
        </p:nvSpPr>
        <p:spPr>
          <a:xfrm>
            <a:off x="9190541" y="2254716"/>
            <a:ext cx="2347733" cy="866103"/>
          </a:xfrm>
          <a:prstGeom prst="rightArrow">
            <a:avLst>
              <a:gd name="adj1" fmla="val 65118"/>
              <a:gd name="adj2" fmla="val 83626"/>
            </a:avLst>
          </a:prstGeom>
          <a:solidFill>
            <a:srgbClr val="006600"/>
          </a:solidFill>
          <a:ln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200" b="1">
                <a:latin typeface="Segoe UI" panose="020B0502040204020203" pitchFamily="34" charset="0"/>
                <a:cs typeface="Segoe UI" panose="020B0502040204020203" pitchFamily="34" charset="0"/>
              </a:rPr>
              <a:t>04 khối</a:t>
            </a:r>
            <a:endParaRPr lang="ko-KR" altLang="en-US" sz="2200" b="1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3AB3C571-E10A-4681-8972-748DB0493153}"/>
              </a:ext>
            </a:extLst>
          </p:cNvPr>
          <p:cNvSpPr txBox="1"/>
          <p:nvPr/>
        </p:nvSpPr>
        <p:spPr>
          <a:xfrm>
            <a:off x="10860371" y="2448004"/>
            <a:ext cx="589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b="1" dirty="0">
                <a:solidFill>
                  <a:schemeClr val="bg1"/>
                </a:solidFill>
                <a:cs typeface="Arial" pitchFamily="34" charset="0"/>
              </a:rPr>
              <a:t>04</a:t>
            </a:r>
            <a:endParaRPr lang="ko-KR" altLang="en-US" sz="28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0964BC2C-F82B-46A6-963A-80B16B19D7B4}"/>
              </a:ext>
            </a:extLst>
          </p:cNvPr>
          <p:cNvSpPr txBox="1"/>
          <p:nvPr/>
        </p:nvSpPr>
        <p:spPr>
          <a:xfrm>
            <a:off x="6195333" y="3353087"/>
            <a:ext cx="2773366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>Đ</a:t>
            </a:r>
            <a:r>
              <a:rPr lang="vi-VN" sz="2000">
                <a:latin typeface="Segoe UI" panose="020B0502040204020203" pitchFamily="34" charset="0"/>
                <a:cs typeface="Segoe UI" panose="020B0502040204020203" pitchFamily="34" charset="0"/>
              </a:rPr>
              <a:t>ổi mới </a:t>
            </a: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vi-VN" sz="2000" u="sng">
                <a:latin typeface="Segoe UI" panose="020B0502040204020203" pitchFamily="34" charset="0"/>
                <a:cs typeface="Segoe UI" panose="020B0502040204020203" pitchFamily="34" charset="0"/>
              </a:rPr>
              <a:t>tư duy lãnh đạo</a:t>
            </a:r>
            <a:r>
              <a:rPr lang="vi-VN" sz="200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vi-VN" sz="2000">
                <a:latin typeface="Segoe UI" panose="020B0502040204020203" pitchFamily="34" charset="0"/>
                <a:cs typeface="Segoe UI" panose="020B0502040204020203" pitchFamily="34" charset="0"/>
              </a:rPr>
              <a:t>hình thành </a:t>
            </a:r>
            <a:r>
              <a:rPr lang="vi-VN" sz="2000" b="1">
                <a:latin typeface="Segoe UI" panose="020B0502040204020203" pitchFamily="34" charset="0"/>
                <a:cs typeface="Segoe UI" panose="020B0502040204020203" pitchFamily="34" charset="0"/>
              </a:rPr>
              <a:t>văn hóa làm việc số</a:t>
            </a:r>
            <a:r>
              <a:rPr lang="en-US" sz="2000" b="1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2000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vi-VN" sz="2000" b="1">
                <a:latin typeface="Segoe UI" panose="020B0502040204020203" pitchFamily="34" charset="0"/>
                <a:cs typeface="Segoe UI" panose="020B0502040204020203" pitchFamily="34" charset="0"/>
              </a:rPr>
              <a:t>kỷ luật, </a:t>
            </a:r>
            <a:r>
              <a:rPr lang="en-US" sz="2000" b="1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2000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vi-VN" sz="2000" b="1">
                <a:latin typeface="Segoe UI" panose="020B0502040204020203" pitchFamily="34" charset="0"/>
                <a:cs typeface="Segoe UI" panose="020B0502040204020203" pitchFamily="34" charset="0"/>
              </a:rPr>
              <a:t>minh bạch, </a:t>
            </a:r>
            <a:r>
              <a:rPr lang="en-US" sz="2000" b="1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2000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vi-VN" sz="2000" b="1">
                <a:latin typeface="Segoe UI" panose="020B0502040204020203" pitchFamily="34" charset="0"/>
                <a:cs typeface="Segoe UI" panose="020B0502040204020203" pitchFamily="34" charset="0"/>
              </a:rPr>
              <a:t>hiệu quả</a:t>
            </a:r>
            <a:r>
              <a:rPr lang="vi-VN" sz="2000"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en-US" sz="2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2D89BEB-2843-44BB-A6E9-9E27C0089A4A}"/>
              </a:ext>
            </a:extLst>
          </p:cNvPr>
          <p:cNvSpPr txBox="1"/>
          <p:nvPr/>
        </p:nvSpPr>
        <p:spPr>
          <a:xfrm>
            <a:off x="9164934" y="3353087"/>
            <a:ext cx="2737835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vi-VN" sz="2000" b="1">
                <a:latin typeface="Segoe UI" panose="020B0502040204020203" pitchFamily="34" charset="0"/>
                <a:cs typeface="Segoe UI" panose="020B0502040204020203" pitchFamily="34" charset="0"/>
              </a:rPr>
              <a:t>4 khối</a:t>
            </a:r>
            <a:r>
              <a:rPr lang="vi-VN" sz="2000">
                <a:latin typeface="Segoe UI" panose="020B0502040204020203" pitchFamily="34" charset="0"/>
                <a:cs typeface="Segoe UI" panose="020B0502040204020203" pitchFamily="34" charset="0"/>
              </a:rPr>
              <a:t> cơ quan </a:t>
            </a: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vi-VN" sz="2000">
                <a:latin typeface="Segoe UI" panose="020B0502040204020203" pitchFamily="34" charset="0"/>
                <a:cs typeface="Segoe UI" panose="020B0502040204020203" pitchFamily="34" charset="0"/>
              </a:rPr>
              <a:t>(Đảng – Nhà nước – Quốc hội – MTTQ) triển khai đồng bộ </a:t>
            </a: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vi-VN" sz="2000">
                <a:latin typeface="Segoe UI" panose="020B0502040204020203" pitchFamily="34" charset="0"/>
                <a:cs typeface="Segoe UI" panose="020B0502040204020203" pitchFamily="34" charset="0"/>
              </a:rPr>
              <a:t>→ </a:t>
            </a:r>
            <a:r>
              <a:rPr lang="vi-VN" sz="2000" u="sng">
                <a:latin typeface="Segoe UI" panose="020B0502040204020203" pitchFamily="34" charset="0"/>
                <a:cs typeface="Segoe UI" panose="020B0502040204020203" pitchFamily="34" charset="0"/>
              </a:rPr>
              <a:t>hình thành</a:t>
            </a:r>
            <a:r>
              <a:rPr lang="vi-VN" sz="200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vi-VN" sz="2000" b="1">
                <a:latin typeface="Segoe UI" panose="020B0502040204020203" pitchFamily="34" charset="0"/>
                <a:cs typeface="Segoe UI" panose="020B0502040204020203" pitchFamily="34" charset="0"/>
              </a:rPr>
              <a:t>mô hình quản trị </a:t>
            </a:r>
            <a:r>
              <a:rPr lang="en-US" sz="2000" b="1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2000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vi-VN" sz="2000" b="1">
                <a:latin typeface="Segoe UI" panose="020B0502040204020203" pitchFamily="34" charset="0"/>
                <a:cs typeface="Segoe UI" panose="020B0502040204020203" pitchFamily="34" charset="0"/>
              </a:rPr>
              <a:t>dữ liệu liên </a:t>
            </a:r>
            <a:r>
              <a:rPr lang="vi-VN" sz="2000" b="1" smtClean="0">
                <a:latin typeface="Segoe UI" panose="020B0502040204020203" pitchFamily="34" charset="0"/>
                <a:cs typeface="Segoe UI" panose="020B0502040204020203" pitchFamily="34" charset="0"/>
              </a:rPr>
              <a:t>thông</a:t>
            </a:r>
            <a:r>
              <a:rPr lang="en-US" sz="2000" smtClean="0"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vi-VN" sz="2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D0AACB85-9B60-39B2-DA92-C6DF99512A30}"/>
              </a:ext>
            </a:extLst>
          </p:cNvPr>
          <p:cNvSpPr/>
          <p:nvPr/>
        </p:nvSpPr>
        <p:spPr>
          <a:xfrm>
            <a:off x="4047879" y="1207143"/>
            <a:ext cx="4088844" cy="960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40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7858544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2C4649-4DC4-5085-0D20-3EFBBF0592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Rectangle 147">
            <a:extLst>
              <a:ext uri="{FF2B5EF4-FFF2-40B4-BE49-F238E27FC236}">
                <a16:creationId xmlns:a16="http://schemas.microsoft.com/office/drawing/2014/main" id="{C3B33B83-D58D-4FC9-AADE-E433CB23B2C6}"/>
              </a:ext>
            </a:extLst>
          </p:cNvPr>
          <p:cNvSpPr/>
          <p:nvPr/>
        </p:nvSpPr>
        <p:spPr>
          <a:xfrm>
            <a:off x="725223" y="2514953"/>
            <a:ext cx="2202428" cy="173997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AE2036B3-E992-6278-1D5B-82B738834681}"/>
              </a:ext>
            </a:extLst>
          </p:cNvPr>
          <p:cNvCxnSpPr>
            <a:cxnSpLocks/>
          </p:cNvCxnSpPr>
          <p:nvPr/>
        </p:nvCxnSpPr>
        <p:spPr>
          <a:xfrm>
            <a:off x="18052" y="3292392"/>
            <a:ext cx="12192000" cy="0"/>
          </a:xfrm>
          <a:prstGeom prst="line">
            <a:avLst/>
          </a:prstGeom>
          <a:ln w="15240">
            <a:gradFill>
              <a:gsLst>
                <a:gs pos="0">
                  <a:srgbClr val="EB1C24"/>
                </a:gs>
                <a:gs pos="100000">
                  <a:srgbClr val="B41E23"/>
                </a:gs>
              </a:gsLst>
              <a:lin ang="5400000" scaled="1"/>
            </a:gra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A white and orange striped surface&#10;&#10;Description automatically generated">
            <a:extLst>
              <a:ext uri="{FF2B5EF4-FFF2-40B4-BE49-F238E27FC236}">
                <a16:creationId xmlns:a16="http://schemas.microsoft.com/office/drawing/2014/main" id="{2A470024-5F50-F5EC-3704-DC57BDDBDF2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4602" cy="6858000"/>
          </a:xfrm>
          <a:prstGeom prst="rect">
            <a:avLst/>
          </a:prstGeom>
        </p:spPr>
      </p:pic>
      <p:sp>
        <p:nvSpPr>
          <p:cNvPr id="149" name="TextBox 148">
            <a:extLst>
              <a:ext uri="{FF2B5EF4-FFF2-40B4-BE49-F238E27FC236}">
                <a16:creationId xmlns:a16="http://schemas.microsoft.com/office/drawing/2014/main" id="{BB4ADCC4-3A3E-4214-91E5-575D154E19A4}"/>
              </a:ext>
            </a:extLst>
          </p:cNvPr>
          <p:cNvSpPr txBox="1"/>
          <p:nvPr/>
        </p:nvSpPr>
        <p:spPr>
          <a:xfrm>
            <a:off x="9026" y="210327"/>
            <a:ext cx="12166549" cy="596771"/>
          </a:xfrm>
          <a:prstGeom prst="rect">
            <a:avLst/>
          </a:prstGeom>
          <a:noFill/>
          <a:effectLst>
            <a:outerShdw blurRad="12700" dist="127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40" tIns="45720" rIns="91440" bIns="57600" rtlCol="0">
            <a:spAutoFit/>
          </a:bodyPr>
          <a:lstStyle/>
          <a:p>
            <a:pPr algn="ctr">
              <a:defRPr/>
            </a:pPr>
            <a:r>
              <a:rPr lang="en-US" sz="3200" b="1">
                <a:solidFill>
                  <a:srgbClr val="C0000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NHỮNG VẤN ĐỀ ĐẶT RA VÀ THÁCH THỨC CHỦ YẾU</a:t>
            </a:r>
            <a:endParaRPr lang="en-US" sz="4000" b="1" dirty="0">
              <a:solidFill>
                <a:srgbClr val="C00000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C368CF73-9E3B-4F1B-8CF1-6BC149822F35}"/>
              </a:ext>
            </a:extLst>
          </p:cNvPr>
          <p:cNvSpPr/>
          <p:nvPr/>
        </p:nvSpPr>
        <p:spPr>
          <a:xfrm>
            <a:off x="1642836" y="1338989"/>
            <a:ext cx="10119236" cy="10778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US" sz="2000" b="1" i="1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ột</a:t>
            </a:r>
            <a:r>
              <a:rPr lang="en-US" sz="2000" b="1" i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i="1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à</a:t>
            </a:r>
            <a:r>
              <a:rPr lang="en-US" sz="2000" b="1" i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 b="1" i="1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ặc</a:t>
            </a:r>
            <a:r>
              <a:rPr lang="en-US" sz="2000" b="1" i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i="1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ù</a:t>
            </a:r>
            <a:r>
              <a:rPr lang="en-US" sz="2000" b="1" i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i="1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đã</a:t>
            </a:r>
            <a:r>
              <a:rPr lang="en-US" sz="2000" b="1" i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có </a:t>
            </a:r>
            <a:r>
              <a:rPr lang="en-US" sz="2000" b="1" i="1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hung</a:t>
            </a:r>
            <a:r>
              <a:rPr lang="en-US" sz="2000" b="1" i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i="1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iến</a:t>
            </a:r>
            <a:r>
              <a:rPr lang="en-US" sz="2000" b="1" i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i="1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úc</a:t>
            </a:r>
            <a:r>
              <a:rPr lang="en-US" sz="2000" b="1" i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i="1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ổng</a:t>
            </a:r>
            <a:r>
              <a:rPr lang="en-US" sz="2000" b="1" i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thể </a:t>
            </a:r>
            <a:r>
              <a:rPr lang="en-US" sz="2000" b="1" i="1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quốc</a:t>
            </a:r>
            <a:r>
              <a:rPr lang="en-US" sz="2000" b="1" i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i="1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ia</a:t>
            </a:r>
            <a:r>
              <a:rPr lang="en-US" sz="2000" b="1" i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i="1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ố</a:t>
            </a:r>
            <a:r>
              <a:rPr lang="en-US" sz="2000" i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ạo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ền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ảng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định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ướng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hung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; song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ong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hạm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ị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ệ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ống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hính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ị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iệc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ụ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thể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óa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à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hối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ợp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iển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khai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iữa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các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ấp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các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hối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ẫn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u="sng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òn</a:t>
            </a:r>
            <a:r>
              <a:rPr lang="en-US" sz="2000" u="sng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u="sng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iếu</a:t>
            </a:r>
            <a:r>
              <a:rPr lang="en-US" sz="2000" u="sng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u="sng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đồng</a:t>
            </a:r>
            <a:r>
              <a:rPr lang="en-US" sz="2000" u="sng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u="sng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ộ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D8B0D966-ED82-41FC-8144-739CAEB1ED80}"/>
              </a:ext>
            </a:extLst>
          </p:cNvPr>
          <p:cNvSpPr/>
          <p:nvPr/>
        </p:nvSpPr>
        <p:spPr>
          <a:xfrm>
            <a:off x="455717" y="1338989"/>
            <a:ext cx="1187119" cy="1077829"/>
          </a:xfrm>
          <a:prstGeom prst="rect">
            <a:avLst/>
          </a:prstGeom>
          <a:solidFill>
            <a:srgbClr val="8513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spc="-300">
                <a:solidFill>
                  <a:srgbClr val="FFFF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</a:t>
            </a:r>
            <a:endParaRPr lang="en-US" sz="3200" b="1" spc="-300" dirty="0">
              <a:solidFill>
                <a:srgbClr val="FFFF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C368CF73-9E3B-4F1B-8CF1-6BC149822F35}"/>
              </a:ext>
            </a:extLst>
          </p:cNvPr>
          <p:cNvSpPr/>
          <p:nvPr/>
        </p:nvSpPr>
        <p:spPr>
          <a:xfrm>
            <a:off x="1642836" y="2492273"/>
            <a:ext cx="10119236" cy="10108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US" sz="2000" b="1" i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ai là, dữ liệu - yếu tố cốt lõi của chuyển đổi số</a:t>
            </a:r>
            <a:r>
              <a:rPr lang="en-US" sz="2000" b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òn </a:t>
            </a:r>
            <a:r>
              <a:rPr lang="en-US" sz="2000" u="sng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hân tán, thiếu chuẩn hóa</a:t>
            </a:r>
            <a:r>
              <a:rPr lang="en-US"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; </a:t>
            </a:r>
            <a:br>
              <a:rPr lang="en-US"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hưa đảm bảo nguyên tắc “</a:t>
            </a:r>
            <a:r>
              <a:rPr lang="en-US" sz="2000" b="1" i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đúng, đủ, sạch, sống</a:t>
            </a:r>
            <a:r>
              <a:rPr lang="en-US"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”, </a:t>
            </a:r>
            <a:r>
              <a:rPr lang="en-US" sz="2000" u="sng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hưa hình thành</a:t>
            </a:r>
            <a:r>
              <a:rPr lang="en-US"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cơ chế bảo đảm </a:t>
            </a:r>
            <a:br>
              <a:rPr lang="en-US"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“</a:t>
            </a:r>
            <a:r>
              <a:rPr lang="en-US" sz="2000" b="1" i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ữ liệu dùng chung, phục vụ chung, quản lý phân quyền</a:t>
            </a:r>
            <a:r>
              <a:rPr lang="en-US"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”.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D8B0D966-ED82-41FC-8144-739CAEB1ED80}"/>
              </a:ext>
            </a:extLst>
          </p:cNvPr>
          <p:cNvSpPr/>
          <p:nvPr/>
        </p:nvSpPr>
        <p:spPr>
          <a:xfrm>
            <a:off x="455717" y="2492273"/>
            <a:ext cx="1187119" cy="1010865"/>
          </a:xfrm>
          <a:prstGeom prst="rect">
            <a:avLst/>
          </a:prstGeom>
          <a:solidFill>
            <a:srgbClr val="8513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spc="-300">
                <a:solidFill>
                  <a:srgbClr val="FFFF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</a:t>
            </a:r>
            <a:endParaRPr lang="en-US" sz="3200" b="1" spc="-300" dirty="0">
              <a:solidFill>
                <a:srgbClr val="FFFF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C368CF73-9E3B-4F1B-8CF1-6BC149822F35}"/>
              </a:ext>
            </a:extLst>
          </p:cNvPr>
          <p:cNvSpPr/>
          <p:nvPr/>
        </p:nvSpPr>
        <p:spPr>
          <a:xfrm>
            <a:off x="1642836" y="3578593"/>
            <a:ext cx="10119236" cy="16363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US" sz="2000" b="1" i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a </a:t>
            </a:r>
            <a:r>
              <a:rPr lang="en-US" sz="2000" b="1" i="1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à</a:t>
            </a:r>
            <a:r>
              <a:rPr lang="en-US" sz="2000" b="1" i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 b="1" i="1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ái</a:t>
            </a:r>
            <a:r>
              <a:rPr lang="en-US" sz="2000" b="1" i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i="1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ấu</a:t>
            </a:r>
            <a:r>
              <a:rPr lang="en-US" sz="2000" b="1" i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i="1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úc</a:t>
            </a:r>
            <a:r>
              <a:rPr lang="en-US" sz="2000" b="1" i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i="1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quy</a:t>
            </a:r>
            <a:r>
              <a:rPr lang="en-US" sz="2000" b="1" i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i="1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ình</a:t>
            </a:r>
            <a:r>
              <a:rPr lang="en-US" sz="2000" b="1" i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i="1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ghiệp</a:t>
            </a:r>
            <a:r>
              <a:rPr lang="en-US" sz="2000" b="1" i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i="1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ụ</a:t>
            </a:r>
            <a:r>
              <a:rPr lang="en-US" sz="20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òn</a:t>
            </a:r>
            <a:r>
              <a:rPr lang="en-US" sz="20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hậm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; </a:t>
            </a:r>
            <a:r>
              <a:rPr lang="en-US" sz="2000" u="sng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hiều</a:t>
            </a:r>
            <a:r>
              <a:rPr lang="en-US" sz="2000" u="sng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u="sng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quy</a:t>
            </a:r>
            <a:r>
              <a:rPr lang="en-US" sz="2000" u="sng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u="sng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ình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ẫn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ủ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ông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ứng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hắc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;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iệc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ố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óa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ong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các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ơ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quan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Đảng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ặt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ận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đoàn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thể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ới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ừng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ở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ức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u="sng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ỗ</a:t>
            </a:r>
            <a:r>
              <a:rPr lang="en-US" sz="2000" u="sng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u="sng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ợ</a:t>
            </a:r>
            <a:r>
              <a:rPr lang="en-US" sz="2000" u="sng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u="sng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ành</a:t>
            </a:r>
            <a:r>
              <a:rPr lang="en-US" sz="2000" u="sng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u="sng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hính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 u="sng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hưa</a:t>
            </a:r>
            <a:r>
              <a:rPr lang="en-US" sz="2000" u="sng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u="sng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ắn</a:t>
            </a:r>
            <a:r>
              <a:rPr lang="en-US" sz="2000" u="sng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u="sng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hặt</a:t>
            </a:r>
            <a:r>
              <a:rPr lang="en-US" sz="2000" u="sng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với CCHC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;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hối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hà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ước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đã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có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ột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ố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i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VCTT </a:t>
            </a:r>
            <a:r>
              <a:rPr lang="en-US" sz="2000" i="1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àn</a:t>
            </a:r>
            <a:r>
              <a:rPr lang="en-US" sz="2000" i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i="1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ình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hưng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iệc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ết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ối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ữ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iệu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chia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ẻ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ông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tin </a:t>
            </a:r>
            <a:r>
              <a:rPr lang="en-US" sz="2000" u="sng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òn</a:t>
            </a:r>
            <a:r>
              <a:rPr lang="en-US" sz="2000" u="sng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u="sng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ạn</a:t>
            </a:r>
            <a:r>
              <a:rPr lang="en-US" sz="2000" u="sng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u="sng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hế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hiến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u="sng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iệu</a:t>
            </a:r>
            <a:r>
              <a:rPr lang="en-US" sz="2000" u="sng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u="sng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quả</a:t>
            </a:r>
            <a:r>
              <a:rPr lang="en-US" sz="2000" u="sng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u="sng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hục</a:t>
            </a:r>
            <a:r>
              <a:rPr lang="en-US" sz="2000" u="sng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u="sng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ụ</a:t>
            </a:r>
            <a:r>
              <a:rPr lang="en-US" sz="2000" u="sng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u="sng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gười</a:t>
            </a:r>
            <a:r>
              <a:rPr lang="en-US" sz="2000" u="sng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u="sng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ân</a:t>
            </a:r>
            <a:r>
              <a:rPr lang="en-US" sz="2000" u="sng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u="sng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hưa</a:t>
            </a:r>
            <a:r>
              <a:rPr lang="en-US" sz="2000" u="sng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u="sng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ọn</a:t>
            </a:r>
            <a:r>
              <a:rPr lang="en-US" sz="2000" u="sng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u="sng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ẹn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ữ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iệu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u="sng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hưa</a:t>
            </a:r>
            <a:r>
              <a:rPr lang="en-US" sz="2000" u="sng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u="sng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đảm</a:t>
            </a:r>
            <a:r>
              <a:rPr lang="en-US" sz="2000" u="sng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u="sng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ảo</a:t>
            </a:r>
            <a:r>
              <a:rPr lang="en-US" sz="2000" u="sng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ên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hiều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i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VCTT </a:t>
            </a:r>
            <a:r>
              <a:rPr lang="en-US" sz="2000" b="1" i="1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hưa</a:t>
            </a:r>
            <a:r>
              <a:rPr lang="en-US" sz="2000" b="1" i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i="1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àn</a:t>
            </a:r>
            <a:r>
              <a:rPr lang="en-US" sz="2000" b="1" i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i="1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ình</a:t>
            </a: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D8B0D966-ED82-41FC-8144-739CAEB1ED80}"/>
              </a:ext>
            </a:extLst>
          </p:cNvPr>
          <p:cNvSpPr/>
          <p:nvPr/>
        </p:nvSpPr>
        <p:spPr>
          <a:xfrm>
            <a:off x="455717" y="3578593"/>
            <a:ext cx="1187119" cy="1636343"/>
          </a:xfrm>
          <a:prstGeom prst="rect">
            <a:avLst/>
          </a:prstGeom>
          <a:solidFill>
            <a:srgbClr val="8513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spc="-300">
                <a:solidFill>
                  <a:srgbClr val="FFFF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</a:t>
            </a:r>
            <a:endParaRPr lang="en-US" sz="3200" b="1" spc="-300" dirty="0">
              <a:solidFill>
                <a:srgbClr val="FFFF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C368CF73-9E3B-4F1B-8CF1-6BC149822F35}"/>
              </a:ext>
            </a:extLst>
          </p:cNvPr>
          <p:cNvSpPr/>
          <p:nvPr/>
        </p:nvSpPr>
        <p:spPr>
          <a:xfrm>
            <a:off x="1642836" y="5290391"/>
            <a:ext cx="10119236" cy="10108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US" sz="2000" b="1" i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ốn là, nguồn lực và nhân lực còn hạn chế</a:t>
            </a:r>
            <a:r>
              <a:rPr lang="en-US"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đặc biệt ở </a:t>
            </a:r>
            <a:r>
              <a:rPr lang="en-US" sz="2000" u="sng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ấp cơ sở</a:t>
            </a:r>
            <a:r>
              <a:rPr lang="en-US"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– nơi trực tiếp</a:t>
            </a:r>
            <a:br>
              <a:rPr lang="en-US"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ực hiện các nhiệm vụ chuyển đổi số, khiến khả năng </a:t>
            </a:r>
            <a:r>
              <a:rPr lang="en-US" sz="2000" u="sng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an tỏa</a:t>
            </a:r>
            <a:r>
              <a:rPr lang="en-US"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và tính bền vững </a:t>
            </a:r>
            <a:br>
              <a:rPr lang="en-US"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000" u="sng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hưa cao</a:t>
            </a:r>
            <a:r>
              <a:rPr lang="en-US"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en-US" sz="240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D8B0D966-ED82-41FC-8144-739CAEB1ED80}"/>
              </a:ext>
            </a:extLst>
          </p:cNvPr>
          <p:cNvSpPr/>
          <p:nvPr/>
        </p:nvSpPr>
        <p:spPr>
          <a:xfrm>
            <a:off x="455717" y="5290391"/>
            <a:ext cx="1187119" cy="1010865"/>
          </a:xfrm>
          <a:prstGeom prst="rect">
            <a:avLst/>
          </a:prstGeom>
          <a:solidFill>
            <a:srgbClr val="8513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spc="-300">
                <a:solidFill>
                  <a:srgbClr val="FFFF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</a:t>
            </a:r>
            <a:endParaRPr lang="en-US" sz="3200" b="1" spc="-300" dirty="0">
              <a:solidFill>
                <a:srgbClr val="FFFF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D0AACB85-9B60-39B2-DA92-C6DF99512A30}"/>
              </a:ext>
            </a:extLst>
          </p:cNvPr>
          <p:cNvSpPr/>
          <p:nvPr/>
        </p:nvSpPr>
        <p:spPr>
          <a:xfrm>
            <a:off x="4318421" y="860997"/>
            <a:ext cx="4088844" cy="960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40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2107909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2C4649-4DC4-5085-0D20-3EFBBF0592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AE2036B3-E992-6278-1D5B-82B738834681}"/>
              </a:ext>
            </a:extLst>
          </p:cNvPr>
          <p:cNvCxnSpPr>
            <a:cxnSpLocks/>
          </p:cNvCxnSpPr>
          <p:nvPr/>
        </p:nvCxnSpPr>
        <p:spPr>
          <a:xfrm>
            <a:off x="121522" y="3369079"/>
            <a:ext cx="12192000" cy="0"/>
          </a:xfrm>
          <a:prstGeom prst="line">
            <a:avLst/>
          </a:prstGeom>
          <a:ln w="15240">
            <a:gradFill>
              <a:gsLst>
                <a:gs pos="0">
                  <a:srgbClr val="EB1C24"/>
                </a:gs>
                <a:gs pos="100000">
                  <a:srgbClr val="B41E23"/>
                </a:gs>
              </a:gsLst>
              <a:lin ang="5400000" scaled="1"/>
            </a:gra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A white and orange striped surface&#10;&#10;Description automatically generated">
            <a:extLst>
              <a:ext uri="{FF2B5EF4-FFF2-40B4-BE49-F238E27FC236}">
                <a16:creationId xmlns:a16="http://schemas.microsoft.com/office/drawing/2014/main" id="{2A470024-5F50-F5EC-3704-DC57BDDBDF2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65070" y="0"/>
            <a:ext cx="13256554" cy="685800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DE8C2B03-485F-49E9-8BF4-0C1E2FCE5D02}"/>
              </a:ext>
            </a:extLst>
          </p:cNvPr>
          <p:cNvSpPr txBox="1"/>
          <p:nvPr/>
        </p:nvSpPr>
        <p:spPr>
          <a:xfrm>
            <a:off x="-157830" y="200123"/>
            <a:ext cx="7745590" cy="596771"/>
          </a:xfrm>
          <a:prstGeom prst="rect">
            <a:avLst/>
          </a:prstGeom>
          <a:noFill/>
          <a:effectLst>
            <a:outerShdw blurRad="12700" dist="127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40" tIns="45720" rIns="91440" bIns="57600" rtlCol="0">
            <a:spAutoFit/>
          </a:bodyPr>
          <a:lstStyle/>
          <a:p>
            <a:pPr algn="ctr">
              <a:defRPr/>
            </a:pPr>
            <a:r>
              <a:rPr lang="en-US" sz="3200" b="1">
                <a:solidFill>
                  <a:srgbClr val="C0000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CƠ HỘI VÀ YÊU CẦU ĐẶT RA</a:t>
            </a:r>
            <a:endParaRPr lang="en-US" sz="4000" b="1" dirty="0">
              <a:solidFill>
                <a:srgbClr val="C00000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1" name="Chevron 150">
            <a:extLst>
              <a:ext uri="{FF2B5EF4-FFF2-40B4-BE49-F238E27FC236}">
                <a16:creationId xmlns:a16="http://schemas.microsoft.com/office/drawing/2014/main" id="{01E0273A-B459-4CD0-8435-5CF254BFE226}"/>
              </a:ext>
            </a:extLst>
          </p:cNvPr>
          <p:cNvSpPr/>
          <p:nvPr/>
        </p:nvSpPr>
        <p:spPr>
          <a:xfrm>
            <a:off x="743133" y="1545215"/>
            <a:ext cx="3377499" cy="893484"/>
          </a:xfrm>
          <a:prstGeom prst="chevron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>
              <a:solidFill>
                <a:schemeClr val="bg1"/>
              </a:solidFill>
            </a:endParaRPr>
          </a:p>
        </p:txBody>
      </p:sp>
      <p:sp>
        <p:nvSpPr>
          <p:cNvPr id="152" name="Chevron 151">
            <a:extLst>
              <a:ext uri="{FF2B5EF4-FFF2-40B4-BE49-F238E27FC236}">
                <a16:creationId xmlns:a16="http://schemas.microsoft.com/office/drawing/2014/main" id="{53E938E4-B903-4E78-890B-D2C0B4A4A281}"/>
              </a:ext>
            </a:extLst>
          </p:cNvPr>
          <p:cNvSpPr/>
          <p:nvPr/>
        </p:nvSpPr>
        <p:spPr>
          <a:xfrm>
            <a:off x="4093303" y="1296958"/>
            <a:ext cx="3580224" cy="893484"/>
          </a:xfrm>
          <a:prstGeom prst="chevron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  <p:sp>
        <p:nvSpPr>
          <p:cNvPr id="153" name="Chevron 152">
            <a:extLst>
              <a:ext uri="{FF2B5EF4-FFF2-40B4-BE49-F238E27FC236}">
                <a16:creationId xmlns:a16="http://schemas.microsoft.com/office/drawing/2014/main" id="{B4CBDB40-14D8-445F-AAA2-A37966BF7CB8}"/>
              </a:ext>
            </a:extLst>
          </p:cNvPr>
          <p:cNvSpPr/>
          <p:nvPr/>
        </p:nvSpPr>
        <p:spPr>
          <a:xfrm>
            <a:off x="7653517" y="782897"/>
            <a:ext cx="3634680" cy="893484"/>
          </a:xfrm>
          <a:prstGeom prst="chevron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243275C8-BCE5-4258-AD9C-4BE1B63BF8B8}"/>
              </a:ext>
            </a:extLst>
          </p:cNvPr>
          <p:cNvSpPr/>
          <p:nvPr/>
        </p:nvSpPr>
        <p:spPr>
          <a:xfrm>
            <a:off x="7674044" y="1770453"/>
            <a:ext cx="3612827" cy="3317332"/>
          </a:xfrm>
          <a:prstGeom prst="rect">
            <a:avLst/>
          </a:prstGeom>
          <a:solidFill>
            <a:schemeClr val="accent6">
              <a:lumMod val="60000"/>
              <a:lumOff val="4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9455025A-0387-4B0E-A1A6-AC0967700908}"/>
              </a:ext>
            </a:extLst>
          </p:cNvPr>
          <p:cNvSpPr/>
          <p:nvPr/>
        </p:nvSpPr>
        <p:spPr>
          <a:xfrm>
            <a:off x="4095605" y="2298237"/>
            <a:ext cx="3593038" cy="2789548"/>
          </a:xfrm>
          <a:prstGeom prst="rect">
            <a:avLst/>
          </a:prstGeom>
          <a:solidFill>
            <a:srgbClr val="FFC0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979DF2F2-2AAF-423B-9C1A-E3CA37AC6BBB}"/>
              </a:ext>
            </a:extLst>
          </p:cNvPr>
          <p:cNvSpPr/>
          <p:nvPr/>
        </p:nvSpPr>
        <p:spPr>
          <a:xfrm>
            <a:off x="805916" y="2529065"/>
            <a:ext cx="3287387" cy="2558720"/>
          </a:xfrm>
          <a:prstGeom prst="rect">
            <a:avLst/>
          </a:prstGeom>
          <a:solidFill>
            <a:srgbClr val="C0000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A01A7B38-9CD0-43B0-BBE2-116116D27F63}"/>
              </a:ext>
            </a:extLst>
          </p:cNvPr>
          <p:cNvSpPr txBox="1"/>
          <p:nvPr/>
        </p:nvSpPr>
        <p:spPr>
          <a:xfrm>
            <a:off x="764342" y="1686591"/>
            <a:ext cx="332844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ệ thống chính trị </a:t>
            </a:r>
            <a:br>
              <a:rPr lang="en-US" sz="20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0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ống nhất</a:t>
            </a:r>
            <a:endParaRPr lang="ko-KR" altLang="en-US" sz="2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CF0B5A58-2E50-4E36-9C18-683C49ADB133}"/>
              </a:ext>
            </a:extLst>
          </p:cNvPr>
          <p:cNvSpPr txBox="1"/>
          <p:nvPr/>
        </p:nvSpPr>
        <p:spPr>
          <a:xfrm>
            <a:off x="4530806" y="1404753"/>
            <a:ext cx="26310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SDL quốc gia trọng yếu</a:t>
            </a:r>
            <a:endParaRPr lang="ko-KR" altLang="en-US" sz="2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92B1FE9C-E64F-4162-9D3C-92C1C5F8837A}"/>
              </a:ext>
            </a:extLst>
          </p:cNvPr>
          <p:cNvSpPr txBox="1"/>
          <p:nvPr/>
        </p:nvSpPr>
        <p:spPr>
          <a:xfrm>
            <a:off x="7714760" y="829890"/>
            <a:ext cx="35028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ạ tầng,công nghệ số </a:t>
            </a:r>
            <a:br>
              <a:rPr lang="en-US" sz="20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0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iện đại</a:t>
            </a:r>
            <a:endParaRPr lang="ko-KR" altLang="en-US" sz="2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AE0F4336-1E53-4C94-B9F9-64022E9A4E9B}"/>
              </a:ext>
            </a:extLst>
          </p:cNvPr>
          <p:cNvSpPr txBox="1"/>
          <p:nvPr/>
        </p:nvSpPr>
        <p:spPr>
          <a:xfrm>
            <a:off x="803615" y="2502549"/>
            <a:ext cx="327826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>Đảng lãnh đạo </a:t>
            </a:r>
          </a:p>
          <a:p>
            <a:pPr algn="ctr"/>
            <a:r>
              <a:rPr lang="en-US" sz="2000" b="1">
                <a:latin typeface="Segoe UI" panose="020B0502040204020203" pitchFamily="34" charset="0"/>
                <a:cs typeface="Segoe UI" panose="020B0502040204020203" pitchFamily="34" charset="0"/>
              </a:rPr>
              <a:t>tập trung</a:t>
            </a: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b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>Chính phủ </a:t>
            </a:r>
            <a:b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>điều hành </a:t>
            </a:r>
            <a:r>
              <a:rPr lang="en-US" sz="2000" b="1">
                <a:latin typeface="Segoe UI" panose="020B0502040204020203" pitchFamily="34" charset="0"/>
                <a:cs typeface="Segoe UI" panose="020B0502040204020203" pitchFamily="34" charset="0"/>
              </a:rPr>
              <a:t>quyết liệt</a:t>
            </a: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b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>xã hội </a:t>
            </a:r>
            <a:r>
              <a:rPr lang="en-US" sz="2000" b="1">
                <a:latin typeface="Segoe UI" panose="020B0502040204020203" pitchFamily="34" charset="0"/>
                <a:cs typeface="Segoe UI" panose="020B0502040204020203" pitchFamily="34" charset="0"/>
              </a:rPr>
              <a:t>đồng thuận cao</a:t>
            </a: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 b="1" u="sng">
                <a:latin typeface="Segoe UI" panose="020B0502040204020203" pitchFamily="34" charset="0"/>
                <a:cs typeface="Segoe UI" panose="020B0502040204020203" pitchFamily="34" charset="0"/>
              </a:rPr>
              <a:t>tạo nền tảng </a:t>
            </a: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>thể chế thuận lợi </a:t>
            </a:r>
            <a:b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>cho CĐS đồng bộ.</a:t>
            </a:r>
            <a:endParaRPr lang="en-US" altLang="ko-KR" sz="2000" dirty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E7FBB3F7-71B3-4ED7-A2C7-0F40D26452D1}"/>
              </a:ext>
            </a:extLst>
          </p:cNvPr>
          <p:cNvSpPr txBox="1"/>
          <p:nvPr/>
        </p:nvSpPr>
        <p:spPr>
          <a:xfrm>
            <a:off x="4106034" y="2389401"/>
            <a:ext cx="360881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vi-VN" sz="2000" b="1">
                <a:latin typeface="Segoe UI" panose="020B0502040204020203" pitchFamily="34" charset="0"/>
                <a:cs typeface="Segoe UI" panose="020B0502040204020203" pitchFamily="34" charset="0"/>
              </a:rPr>
              <a:t>Hình thành các </a:t>
            </a:r>
            <a:r>
              <a:rPr lang="en-US" sz="2000" b="1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2000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000" b="1">
                <a:latin typeface="Segoe UI" panose="020B0502040204020203" pitchFamily="34" charset="0"/>
                <a:cs typeface="Segoe UI" panose="020B0502040204020203" pitchFamily="34" charset="0"/>
              </a:rPr>
              <a:t>CSDL </a:t>
            </a:r>
            <a:r>
              <a:rPr lang="vi-VN" sz="2000" b="1">
                <a:latin typeface="Segoe UI" panose="020B0502040204020203" pitchFamily="34" charset="0"/>
                <a:cs typeface="Segoe UI" panose="020B0502040204020203" pitchFamily="34" charset="0"/>
              </a:rPr>
              <a:t>quốc gia trọng yếu</a:t>
            </a:r>
            <a:r>
              <a:rPr lang="vi-VN" sz="200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vi-VN" sz="2000" i="1">
                <a:latin typeface="Segoe UI" panose="020B0502040204020203" pitchFamily="34" charset="0"/>
                <a:cs typeface="Segoe UI" panose="020B0502040204020203" pitchFamily="34" charset="0"/>
              </a:rPr>
              <a:t>(dân cư, đất đai, doanh nghiệp, cán bộ, đảng viên…)</a:t>
            </a:r>
            <a:r>
              <a:rPr lang="vi-VN" sz="200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vi-VN" sz="2000">
                <a:latin typeface="Segoe UI" panose="020B0502040204020203" pitchFamily="34" charset="0"/>
                <a:cs typeface="Segoe UI" panose="020B0502040204020203" pitchFamily="34" charset="0"/>
              </a:rPr>
              <a:t>nguồn lực chiến lược </a:t>
            </a: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vi-VN" sz="2000">
                <a:latin typeface="Segoe UI" panose="020B0502040204020203" pitchFamily="34" charset="0"/>
                <a:cs typeface="Segoe UI" panose="020B0502040204020203" pitchFamily="34" charset="0"/>
              </a:rPr>
              <a:t>cho quản trị, điều hành, </a:t>
            </a: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vi-VN" sz="2000">
                <a:latin typeface="Segoe UI" panose="020B0502040204020203" pitchFamily="34" charset="0"/>
                <a:cs typeface="Segoe UI" panose="020B0502040204020203" pitchFamily="34" charset="0"/>
              </a:rPr>
              <a:t>ra quyết định </a:t>
            </a: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vi-VN" sz="2000" b="1">
                <a:latin typeface="Segoe UI" panose="020B0502040204020203" pitchFamily="34" charset="0"/>
                <a:cs typeface="Segoe UI" panose="020B0502040204020203" pitchFamily="34" charset="0"/>
              </a:rPr>
              <a:t>dựa trên dữ liệu</a:t>
            </a: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en-US" altLang="ko-KR" sz="2000" dirty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278DCFBA-B190-45F7-864C-F7236E8FB0CA}"/>
              </a:ext>
            </a:extLst>
          </p:cNvPr>
          <p:cNvSpPr txBox="1"/>
          <p:nvPr/>
        </p:nvSpPr>
        <p:spPr>
          <a:xfrm>
            <a:off x="7715102" y="1787700"/>
            <a:ext cx="343013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vi-VN" sz="2000">
                <a:latin typeface="Segoe UI" panose="020B0502040204020203" pitchFamily="34" charset="0"/>
                <a:cs typeface="Segoe UI" panose="020B0502040204020203" pitchFamily="34" charset="0"/>
              </a:rPr>
              <a:t>Việt Nam </a:t>
            </a: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vi-VN" sz="2000">
                <a:latin typeface="Segoe UI" panose="020B0502040204020203" pitchFamily="34" charset="0"/>
                <a:cs typeface="Segoe UI" panose="020B0502040204020203" pitchFamily="34" charset="0"/>
              </a:rPr>
              <a:t>có </a:t>
            </a:r>
            <a:r>
              <a:rPr lang="vi-VN" sz="2000" b="1">
                <a:latin typeface="Segoe UI" panose="020B0502040204020203" pitchFamily="34" charset="0"/>
                <a:cs typeface="Segoe UI" panose="020B0502040204020203" pitchFamily="34" charset="0"/>
              </a:rPr>
              <a:t>hạ tầng và công nghệ số hiện đại</a:t>
            </a:r>
            <a:r>
              <a:rPr lang="vi-VN" sz="200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vi-VN" sz="2000" b="1">
                <a:latin typeface="Segoe UI" panose="020B0502040204020203" pitchFamily="34" charset="0"/>
                <a:cs typeface="Segoe UI" panose="020B0502040204020203" pitchFamily="34" charset="0"/>
              </a:rPr>
              <a:t>làm chủ và </a:t>
            </a:r>
            <a:r>
              <a:rPr lang="en-US" sz="2000" b="1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2000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vi-VN" sz="2000" b="1">
                <a:latin typeface="Segoe UI" panose="020B0502040204020203" pitchFamily="34" charset="0"/>
                <a:cs typeface="Segoe UI" panose="020B0502040204020203" pitchFamily="34" charset="0"/>
              </a:rPr>
              <a:t>ứng dụng mạnh mẽ </a:t>
            </a:r>
            <a:r>
              <a:rPr lang="en-US" sz="2000" b="1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2000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vi-VN" sz="2000" b="1">
                <a:latin typeface="Segoe UI" panose="020B0502040204020203" pitchFamily="34" charset="0"/>
                <a:cs typeface="Segoe UI" panose="020B0502040204020203" pitchFamily="34" charset="0"/>
              </a:rPr>
              <a:t>các nền tảng số, AI</a:t>
            </a:r>
            <a:r>
              <a:rPr lang="vi-VN" sz="200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vi-VN" sz="2000">
                <a:latin typeface="Segoe UI" panose="020B0502040204020203" pitchFamily="34" charset="0"/>
                <a:cs typeface="Segoe UI" panose="020B0502040204020203" pitchFamily="34" charset="0"/>
              </a:rPr>
              <a:t>cùng </a:t>
            </a:r>
            <a:r>
              <a:rPr lang="vi-VN" sz="2000" b="1">
                <a:latin typeface="Segoe UI" panose="020B0502040204020203" pitchFamily="34" charset="0"/>
                <a:cs typeface="Segoe UI" panose="020B0502040204020203" pitchFamily="34" charset="0"/>
              </a:rPr>
              <a:t>ý chí chính trị và </a:t>
            </a:r>
            <a:r>
              <a:rPr lang="en-US" sz="2000" b="1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2000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vi-VN" sz="2000" b="1">
                <a:latin typeface="Segoe UI" panose="020B0502040204020203" pitchFamily="34" charset="0"/>
                <a:cs typeface="Segoe UI" panose="020B0502040204020203" pitchFamily="34" charset="0"/>
              </a:rPr>
              <a:t>sự đồng hành của </a:t>
            </a:r>
            <a:r>
              <a:rPr lang="en-US" sz="2000" b="1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2000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vi-VN" sz="2000" b="1">
                <a:latin typeface="Segoe UI" panose="020B0502040204020203" pitchFamily="34" charset="0"/>
                <a:cs typeface="Segoe UI" panose="020B0502040204020203" pitchFamily="34" charset="0"/>
              </a:rPr>
              <a:t>doanh nghiệp công nghệ trong nước</a:t>
            </a:r>
            <a:r>
              <a:rPr lang="vi-VN" sz="2000"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en-US" altLang="ko-KR" sz="2000" dirty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9" name="Rectangle 5">
            <a:extLst>
              <a:ext uri="{FF2B5EF4-FFF2-40B4-BE49-F238E27FC236}">
                <a16:creationId xmlns:a16="http://schemas.microsoft.com/office/drawing/2014/main" id="{9C8782A6-734F-4E51-B4AC-17F9504BFA5B}"/>
              </a:ext>
            </a:extLst>
          </p:cNvPr>
          <p:cNvSpPr/>
          <p:nvPr/>
        </p:nvSpPr>
        <p:spPr>
          <a:xfrm rot="20290862">
            <a:off x="7762424" y="3457124"/>
            <a:ext cx="1643557" cy="1449048"/>
          </a:xfrm>
          <a:custGeom>
            <a:avLst/>
            <a:gdLst/>
            <a:ahLst/>
            <a:cxnLst/>
            <a:rect l="l" t="t" r="r" b="b"/>
            <a:pathLst>
              <a:path w="4039355" h="4675800">
                <a:moveTo>
                  <a:pt x="4034497" y="0"/>
                </a:moveTo>
                <a:lnTo>
                  <a:pt x="4039355" y="1157334"/>
                </a:lnTo>
                <a:lnTo>
                  <a:pt x="4036521" y="1158088"/>
                </a:lnTo>
                <a:lnTo>
                  <a:pt x="4036521" y="4184468"/>
                </a:lnTo>
                <a:lnTo>
                  <a:pt x="2880543" y="4184469"/>
                </a:lnTo>
                <a:lnTo>
                  <a:pt x="2880543" y="2372299"/>
                </a:lnTo>
                <a:lnTo>
                  <a:pt x="1096372" y="4675800"/>
                </a:lnTo>
                <a:lnTo>
                  <a:pt x="242442" y="4014390"/>
                </a:lnTo>
                <a:lnTo>
                  <a:pt x="2044770" y="1687448"/>
                </a:lnTo>
                <a:lnTo>
                  <a:pt x="296924" y="2151986"/>
                </a:lnTo>
                <a:lnTo>
                  <a:pt x="0" y="1034791"/>
                </a:lnTo>
                <a:lnTo>
                  <a:pt x="2097708" y="477269"/>
                </a:lnTo>
                <a:lnTo>
                  <a:pt x="2101111" y="490677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170" name="Rounded Rectangle 21">
            <a:extLst>
              <a:ext uri="{FF2B5EF4-FFF2-40B4-BE49-F238E27FC236}">
                <a16:creationId xmlns:a16="http://schemas.microsoft.com/office/drawing/2014/main" id="{27DA2AC0-C2DC-4154-9D9F-66416FF3A8E8}"/>
              </a:ext>
            </a:extLst>
          </p:cNvPr>
          <p:cNvSpPr/>
          <p:nvPr/>
        </p:nvSpPr>
        <p:spPr>
          <a:xfrm rot="16200000" flipH="1">
            <a:off x="6760237" y="1980874"/>
            <a:ext cx="1220801" cy="7832471"/>
          </a:xfrm>
          <a:prstGeom prst="roundRect">
            <a:avLst>
              <a:gd name="adj" fmla="val 1091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just"/>
            <a:r>
              <a:rPr lang="en-US" b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Đây là cơ hội để chuyển đổi số trong hệ thống chính trị thực sự </a:t>
            </a:r>
            <a:br>
              <a:rPr lang="en-US" b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b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ở thành </a:t>
            </a:r>
            <a:r>
              <a:rPr lang="en-US" b="1">
                <a:solidFill>
                  <a:srgbClr val="C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“đòn bẩy thể chế”</a:t>
            </a:r>
            <a:r>
              <a:rPr lang="en-US" b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thúc đẩy đổi mới phương thức lãnh đạo, quản lý, điều hành và phục vụ Nhân dân, góp phần hiện thực hóa </a:t>
            </a:r>
            <a:br>
              <a:rPr lang="en-US" b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b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ô hình chính quyền hai cấp tinh gọn, minh bạch, hiệu quả.</a:t>
            </a:r>
          </a:p>
        </p:txBody>
      </p:sp>
      <p:sp>
        <p:nvSpPr>
          <p:cNvPr id="171" name="Round Same Side Corner Rectangle 22">
            <a:extLst>
              <a:ext uri="{FF2B5EF4-FFF2-40B4-BE49-F238E27FC236}">
                <a16:creationId xmlns:a16="http://schemas.microsoft.com/office/drawing/2014/main" id="{733B0C6B-090F-4D72-850C-878E6CAAA5D1}"/>
              </a:ext>
            </a:extLst>
          </p:cNvPr>
          <p:cNvSpPr/>
          <p:nvPr/>
        </p:nvSpPr>
        <p:spPr>
          <a:xfrm rot="16200000">
            <a:off x="1520972" y="4574081"/>
            <a:ext cx="1218374" cy="2648482"/>
          </a:xfrm>
          <a:prstGeom prst="round2SameRect">
            <a:avLst>
              <a:gd name="adj1" fmla="val 13229"/>
              <a:gd name="adj2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b="1">
                <a:latin typeface="Segoe UI" panose="020B0502040204020203" pitchFamily="34" charset="0"/>
                <a:cs typeface="Segoe UI" panose="020B0502040204020203" pitchFamily="34" charset="0"/>
              </a:rPr>
              <a:t>CHUYỂN ĐỔI SỐ </a:t>
            </a:r>
            <a:br>
              <a:rPr lang="en-US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b="1">
                <a:latin typeface="Segoe UI" panose="020B0502040204020203" pitchFamily="34" charset="0"/>
                <a:cs typeface="Segoe UI" panose="020B0502040204020203" pitchFamily="34" charset="0"/>
              </a:rPr>
              <a:t>ĐÒN BẨY THỂ CHẾ </a:t>
            </a:r>
            <a:br>
              <a:rPr lang="en-US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b="1">
                <a:latin typeface="Segoe UI" panose="020B0502040204020203" pitchFamily="34" charset="0"/>
                <a:cs typeface="Segoe UI" panose="020B0502040204020203" pitchFamily="34" charset="0"/>
              </a:rPr>
              <a:t>CHO ĐỔI MỚI VÀ </a:t>
            </a:r>
            <a:br>
              <a:rPr lang="en-US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b="1">
                <a:latin typeface="Segoe UI" panose="020B0502040204020203" pitchFamily="34" charset="0"/>
                <a:cs typeface="Segoe UI" panose="020B0502040204020203" pitchFamily="34" charset="0"/>
              </a:rPr>
              <a:t>TINH GỌN BỘ MÁY</a:t>
            </a:r>
            <a:endParaRPr lang="ko-KR" altLang="en-US" b="1" dirty="0">
              <a:solidFill>
                <a:srgbClr val="FFFF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D0AACB85-9B60-39B2-DA92-C6DF99512A30}"/>
              </a:ext>
            </a:extLst>
          </p:cNvPr>
          <p:cNvSpPr/>
          <p:nvPr/>
        </p:nvSpPr>
        <p:spPr>
          <a:xfrm>
            <a:off x="903771" y="777022"/>
            <a:ext cx="4088844" cy="960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40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1687018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2C4649-4DC4-5085-0D20-3EFBBF0592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Rectangle 147">
            <a:extLst>
              <a:ext uri="{FF2B5EF4-FFF2-40B4-BE49-F238E27FC236}">
                <a16:creationId xmlns:a16="http://schemas.microsoft.com/office/drawing/2014/main" id="{C3B33B83-D58D-4FC9-AADE-E433CB23B2C6}"/>
              </a:ext>
            </a:extLst>
          </p:cNvPr>
          <p:cNvSpPr/>
          <p:nvPr/>
        </p:nvSpPr>
        <p:spPr>
          <a:xfrm>
            <a:off x="732571" y="3257365"/>
            <a:ext cx="2202428" cy="173997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 dirty="0"/>
          </a:p>
        </p:txBody>
      </p:sp>
      <p:pic>
        <p:nvPicPr>
          <p:cNvPr id="5" name="Picture 4" descr="A white and orange striped surface&#10;&#10;Description automatically generated">
            <a:extLst>
              <a:ext uri="{FF2B5EF4-FFF2-40B4-BE49-F238E27FC236}">
                <a16:creationId xmlns:a16="http://schemas.microsoft.com/office/drawing/2014/main" id="{2A470024-5F50-F5EC-3704-DC57BDDBDF2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" y="-3921"/>
            <a:ext cx="12184602" cy="685800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DE8C2B03-485F-49E9-8BF4-0C1E2FCE5D02}"/>
              </a:ext>
            </a:extLst>
          </p:cNvPr>
          <p:cNvSpPr txBox="1"/>
          <p:nvPr/>
        </p:nvSpPr>
        <p:spPr>
          <a:xfrm>
            <a:off x="0" y="192703"/>
            <a:ext cx="12172750" cy="596771"/>
          </a:xfrm>
          <a:prstGeom prst="rect">
            <a:avLst/>
          </a:prstGeom>
          <a:noFill/>
          <a:effectLst>
            <a:outerShdw blurRad="12700" dist="127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40" tIns="45720" rIns="91440" bIns="57600" rtlCol="0">
            <a:spAutoFit/>
          </a:bodyPr>
          <a:lstStyle/>
          <a:p>
            <a:pPr algn="ctr">
              <a:defRPr/>
            </a:pPr>
            <a:r>
              <a:rPr lang="en-US" sz="3200" b="1">
                <a:solidFill>
                  <a:srgbClr val="C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ỘT SỐ ĐỊNH HƯỚNG, GIẢI PHÁP TRỌNG TÂM</a:t>
            </a:r>
            <a:endParaRPr lang="en-US" sz="6000" b="1" dirty="0">
              <a:solidFill>
                <a:srgbClr val="C00000"/>
              </a:solidFill>
              <a:latin typeface="Segoe UI" panose="020B05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0AACB85-9B60-39B2-DA92-C6DF99512A30}"/>
              </a:ext>
            </a:extLst>
          </p:cNvPr>
          <p:cNvSpPr/>
          <p:nvPr/>
        </p:nvSpPr>
        <p:spPr>
          <a:xfrm>
            <a:off x="4039021" y="800984"/>
            <a:ext cx="4088844" cy="960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40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68C45DA-5A4D-4554-A6FF-57D2B1545856}"/>
              </a:ext>
            </a:extLst>
          </p:cNvPr>
          <p:cNvSpPr txBox="1"/>
          <p:nvPr/>
        </p:nvSpPr>
        <p:spPr>
          <a:xfrm>
            <a:off x="1460018" y="1181853"/>
            <a:ext cx="10318266" cy="1015663"/>
          </a:xfrm>
          <a:prstGeom prst="rect">
            <a:avLst/>
          </a:prstGeom>
          <a:solidFill>
            <a:schemeClr val="lt1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</a:pPr>
            <a:r>
              <a:rPr lang="en-US" sz="2000" b="1" i="1">
                <a:latin typeface="Segoe UI" panose="020B0502040204020203" pitchFamily="34" charset="0"/>
                <a:cs typeface="Segoe UI" panose="020B0502040204020203" pitchFamily="34" charset="0"/>
              </a:rPr>
              <a:t>Hoàn thiện thể chế, cơ chế phân cấp, phân quyền</a:t>
            </a:r>
            <a:r>
              <a:rPr lang="en-US" sz="2000" i="1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>Trung ương tập trung kiến tạo </a:t>
            </a:r>
            <a:b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>chính sách, chuẩn hóa dữ liệu; các cấp, các ngành chủ động tổ chức thực hiện, chịu trách nhiệm kết quả số hóa trong phạm vi được giao.</a:t>
            </a:r>
            <a:endParaRPr lang="en-VN" sz="2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17882254-0667-1A8F-FEBF-A362BA0BE61B}"/>
              </a:ext>
            </a:extLst>
          </p:cNvPr>
          <p:cNvSpPr/>
          <p:nvPr/>
        </p:nvSpPr>
        <p:spPr>
          <a:xfrm>
            <a:off x="355897" y="1256881"/>
            <a:ext cx="881630" cy="849088"/>
          </a:xfrm>
          <a:prstGeom prst="ellipse">
            <a:avLst/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400">
              <a:solidFill>
                <a:schemeClr val="tx1"/>
              </a:solidFill>
              <a:highlight>
                <a:srgbClr val="008000"/>
              </a:highlight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DBCEAA3-BD93-9C08-0D61-DA5A9DA221DA}"/>
              </a:ext>
            </a:extLst>
          </p:cNvPr>
          <p:cNvSpPr txBox="1"/>
          <p:nvPr/>
        </p:nvSpPr>
        <p:spPr>
          <a:xfrm>
            <a:off x="355897" y="1460506"/>
            <a:ext cx="881630" cy="461665"/>
          </a:xfrm>
          <a:prstGeom prst="rect">
            <a:avLst/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altLang="ko-KR" sz="2400" b="1" dirty="0">
                <a:solidFill>
                  <a:schemeClr val="accent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1</a:t>
            </a:r>
            <a:endParaRPr lang="ko-KR" altLang="en-US" sz="2000" b="1" dirty="0">
              <a:solidFill>
                <a:schemeClr val="accent2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68C45DA-5A4D-4554-A6FF-57D2B1545856}"/>
              </a:ext>
            </a:extLst>
          </p:cNvPr>
          <p:cNvSpPr txBox="1"/>
          <p:nvPr/>
        </p:nvSpPr>
        <p:spPr>
          <a:xfrm>
            <a:off x="1460018" y="2322597"/>
            <a:ext cx="10318266" cy="1015663"/>
          </a:xfrm>
          <a:prstGeom prst="rect">
            <a:avLst/>
          </a:prstGeom>
          <a:solidFill>
            <a:schemeClr val="lt1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</a:pPr>
            <a:r>
              <a:rPr lang="en-US" sz="2000" b="1" i="1">
                <a:latin typeface="Segoe UI" panose="020B0502040204020203" pitchFamily="34" charset="0"/>
                <a:cs typeface="Segoe UI" panose="020B0502040204020203" pitchFamily="34" charset="0"/>
              </a:rPr>
              <a:t>Xây dựng và kết nối hệ sinh thái dữ liệu quốc gia của hệ thống chính trị</a:t>
            </a:r>
            <a:r>
              <a:rPr lang="en-US" sz="2000" i="1">
                <a:latin typeface="Segoe UI" panose="020B0502040204020203" pitchFamily="34" charset="0"/>
                <a:cs typeface="Segoe UI" panose="020B0502040204020203" pitchFamily="34" charset="0"/>
              </a:rPr>
              <a:t>,</a:t>
            </a: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> bảo đảm </a:t>
            </a:r>
            <a:b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>liên thông giữa các cơ quan Đảng, Nhà nước, Mặt trận và các tổ chức chính trị – xã hội, phục vụ lãnh đạo, điều hành, giam sát và phục vụ Nhân dân dựa trên dữ liệu.</a:t>
            </a:r>
            <a:endParaRPr lang="en-VN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17882254-0667-1A8F-FEBF-A362BA0BE61B}"/>
              </a:ext>
            </a:extLst>
          </p:cNvPr>
          <p:cNvSpPr/>
          <p:nvPr/>
        </p:nvSpPr>
        <p:spPr>
          <a:xfrm>
            <a:off x="355897" y="2384925"/>
            <a:ext cx="881630" cy="849088"/>
          </a:xfrm>
          <a:prstGeom prst="ellipse">
            <a:avLst/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400">
              <a:solidFill>
                <a:schemeClr val="tx1"/>
              </a:solidFill>
              <a:highlight>
                <a:srgbClr val="008000"/>
              </a:highlight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DBCEAA3-BD93-9C08-0D61-DA5A9DA221DA}"/>
              </a:ext>
            </a:extLst>
          </p:cNvPr>
          <p:cNvSpPr txBox="1"/>
          <p:nvPr/>
        </p:nvSpPr>
        <p:spPr>
          <a:xfrm>
            <a:off x="355897" y="2588550"/>
            <a:ext cx="881630" cy="461665"/>
          </a:xfrm>
          <a:prstGeom prst="rect">
            <a:avLst/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altLang="ko-KR" sz="2400" b="1">
                <a:solidFill>
                  <a:schemeClr val="accent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2</a:t>
            </a:r>
            <a:endParaRPr lang="ko-KR" altLang="en-US" sz="2000" b="1" dirty="0">
              <a:solidFill>
                <a:schemeClr val="accent2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68C45DA-5A4D-4554-A6FF-57D2B1545856}"/>
              </a:ext>
            </a:extLst>
          </p:cNvPr>
          <p:cNvSpPr txBox="1"/>
          <p:nvPr/>
        </p:nvSpPr>
        <p:spPr>
          <a:xfrm>
            <a:off x="1460018" y="3473993"/>
            <a:ext cx="10318266" cy="1015663"/>
          </a:xfrm>
          <a:prstGeom prst="rect">
            <a:avLst/>
          </a:prstGeom>
          <a:solidFill>
            <a:schemeClr val="lt1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</a:pPr>
            <a:r>
              <a:rPr lang="en-US" sz="2000" b="1" i="1">
                <a:latin typeface="Segoe UI" panose="020B0502040204020203" pitchFamily="34" charset="0"/>
                <a:cs typeface="Segoe UI" panose="020B0502040204020203" pitchFamily="34" charset="0"/>
              </a:rPr>
              <a:t>Tái cấu trúc quy trình nghiệp vụ, đổi mới phương thức lãnh đạo, điều hành</a:t>
            </a: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>, gắn chặt công nghệ số với cải cách hành chính và đổi mới lề lối làm việc của từng cơ quan trong hệ thống chính trị.</a:t>
            </a:r>
            <a:endParaRPr lang="en-VN" sz="28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17882254-0667-1A8F-FEBF-A362BA0BE61B}"/>
              </a:ext>
            </a:extLst>
          </p:cNvPr>
          <p:cNvSpPr/>
          <p:nvPr/>
        </p:nvSpPr>
        <p:spPr>
          <a:xfrm>
            <a:off x="355897" y="3536321"/>
            <a:ext cx="881630" cy="849088"/>
          </a:xfrm>
          <a:prstGeom prst="ellipse">
            <a:avLst/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400">
              <a:solidFill>
                <a:schemeClr val="tx1"/>
              </a:solidFill>
              <a:highlight>
                <a:srgbClr val="008000"/>
              </a:highlight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DBCEAA3-BD93-9C08-0D61-DA5A9DA221DA}"/>
              </a:ext>
            </a:extLst>
          </p:cNvPr>
          <p:cNvSpPr txBox="1"/>
          <p:nvPr/>
        </p:nvSpPr>
        <p:spPr>
          <a:xfrm>
            <a:off x="355897" y="3739946"/>
            <a:ext cx="881630" cy="461665"/>
          </a:xfrm>
          <a:prstGeom prst="rect">
            <a:avLst/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altLang="ko-KR" sz="2400" b="1">
                <a:solidFill>
                  <a:schemeClr val="accent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3</a:t>
            </a:r>
            <a:endParaRPr lang="ko-KR" altLang="en-US" sz="2000" b="1" dirty="0">
              <a:solidFill>
                <a:schemeClr val="accent2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68C45DA-5A4D-4554-A6FF-57D2B1545856}"/>
              </a:ext>
            </a:extLst>
          </p:cNvPr>
          <p:cNvSpPr txBox="1"/>
          <p:nvPr/>
        </p:nvSpPr>
        <p:spPr>
          <a:xfrm>
            <a:off x="1460018" y="4619365"/>
            <a:ext cx="10318266" cy="1015663"/>
          </a:xfrm>
          <a:prstGeom prst="rect">
            <a:avLst/>
          </a:prstGeom>
          <a:solidFill>
            <a:schemeClr val="lt1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</a:pPr>
            <a:r>
              <a:rPr lang="en-US" sz="2000" b="1" i="1">
                <a:latin typeface="Segoe UI" panose="020B0502040204020203" pitchFamily="34" charset="0"/>
                <a:cs typeface="Segoe UI" panose="020B0502040204020203" pitchFamily="34" charset="0"/>
              </a:rPr>
              <a:t>Phát triển nhân lực và văn hóa số </a:t>
            </a: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>trong toàn hệ thống chính trị, chú trọng đào tạo, </a:t>
            </a:r>
            <a:b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>bồi dưỡng kỹ năng số cho cán bộ chủ chốt, nhất là ở cấp cơ sở – nơi trực tiếp tiếp xúc và phục vụ người dân.</a:t>
            </a:r>
            <a:endParaRPr lang="en-VN" sz="3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17882254-0667-1A8F-FEBF-A362BA0BE61B}"/>
              </a:ext>
            </a:extLst>
          </p:cNvPr>
          <p:cNvSpPr/>
          <p:nvPr/>
        </p:nvSpPr>
        <p:spPr>
          <a:xfrm>
            <a:off x="355897" y="4656293"/>
            <a:ext cx="881630" cy="849088"/>
          </a:xfrm>
          <a:prstGeom prst="ellipse">
            <a:avLst/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400">
              <a:solidFill>
                <a:schemeClr val="tx1"/>
              </a:solidFill>
              <a:highlight>
                <a:srgbClr val="008000"/>
              </a:highlight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DBCEAA3-BD93-9C08-0D61-DA5A9DA221DA}"/>
              </a:ext>
            </a:extLst>
          </p:cNvPr>
          <p:cNvSpPr txBox="1"/>
          <p:nvPr/>
        </p:nvSpPr>
        <p:spPr>
          <a:xfrm>
            <a:off x="355897" y="4859918"/>
            <a:ext cx="881630" cy="461665"/>
          </a:xfrm>
          <a:prstGeom prst="rect">
            <a:avLst/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altLang="ko-KR" sz="2400" b="1">
                <a:solidFill>
                  <a:schemeClr val="accent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4</a:t>
            </a:r>
            <a:endParaRPr lang="ko-KR" altLang="en-US" sz="2000" b="1" dirty="0">
              <a:solidFill>
                <a:schemeClr val="accent2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68C45DA-5A4D-4554-A6FF-57D2B1545856}"/>
              </a:ext>
            </a:extLst>
          </p:cNvPr>
          <p:cNvSpPr txBox="1"/>
          <p:nvPr/>
        </p:nvSpPr>
        <p:spPr>
          <a:xfrm>
            <a:off x="1460018" y="5754049"/>
            <a:ext cx="10318266" cy="707886"/>
          </a:xfrm>
          <a:prstGeom prst="rect">
            <a:avLst/>
          </a:prstGeom>
          <a:solidFill>
            <a:schemeClr val="lt1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</a:pPr>
            <a:r>
              <a:rPr lang="en-US" sz="2000" b="1" i="1">
                <a:latin typeface="Segoe UI" panose="020B0502040204020203" pitchFamily="34" charset="0"/>
                <a:cs typeface="Segoe UI" panose="020B0502040204020203" pitchFamily="34" charset="0"/>
              </a:rPr>
              <a:t>Bảo đảm an toàn, an ninh mạng và chủ quyền số</a:t>
            </a:r>
            <a:r>
              <a:rPr lang="en-US" sz="2000" i="1">
                <a:latin typeface="Segoe UI" panose="020B0502040204020203" pitchFamily="34" charset="0"/>
                <a:cs typeface="Segoe UI" panose="020B0502040204020203" pitchFamily="34" charset="0"/>
              </a:rPr>
              <a:t>,</a:t>
            </a: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> coi đây là nền tảng của niềm tin chính trị và là điều kiện tiên quyết cho mọi hoạt động số hóa.</a:t>
            </a:r>
            <a:endParaRPr lang="en-VN" sz="36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17882254-0667-1A8F-FEBF-A362BA0BE61B}"/>
              </a:ext>
            </a:extLst>
          </p:cNvPr>
          <p:cNvSpPr/>
          <p:nvPr/>
        </p:nvSpPr>
        <p:spPr>
          <a:xfrm>
            <a:off x="355897" y="5679247"/>
            <a:ext cx="881630" cy="849088"/>
          </a:xfrm>
          <a:prstGeom prst="ellipse">
            <a:avLst/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400">
              <a:solidFill>
                <a:schemeClr val="tx1"/>
              </a:solidFill>
              <a:highlight>
                <a:srgbClr val="008000"/>
              </a:highlight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DBCEAA3-BD93-9C08-0D61-DA5A9DA221DA}"/>
              </a:ext>
            </a:extLst>
          </p:cNvPr>
          <p:cNvSpPr txBox="1"/>
          <p:nvPr/>
        </p:nvSpPr>
        <p:spPr>
          <a:xfrm>
            <a:off x="355897" y="5882872"/>
            <a:ext cx="881630" cy="461665"/>
          </a:xfrm>
          <a:prstGeom prst="rect">
            <a:avLst/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altLang="ko-KR" sz="2400" b="1">
                <a:solidFill>
                  <a:schemeClr val="accent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5</a:t>
            </a:r>
            <a:endParaRPr lang="ko-KR" altLang="en-US" sz="2000" b="1" dirty="0">
              <a:solidFill>
                <a:schemeClr val="accent2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4340857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2C4649-4DC4-5085-0D20-3EFBBF0592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Rectangle 147">
            <a:extLst>
              <a:ext uri="{FF2B5EF4-FFF2-40B4-BE49-F238E27FC236}">
                <a16:creationId xmlns:a16="http://schemas.microsoft.com/office/drawing/2014/main" id="{C3B33B83-D58D-4FC9-AADE-E433CB23B2C6}"/>
              </a:ext>
            </a:extLst>
          </p:cNvPr>
          <p:cNvSpPr/>
          <p:nvPr/>
        </p:nvSpPr>
        <p:spPr>
          <a:xfrm>
            <a:off x="275371" y="3168465"/>
            <a:ext cx="2202428" cy="173997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 dirty="0"/>
          </a:p>
        </p:txBody>
      </p:sp>
      <p:pic>
        <p:nvPicPr>
          <p:cNvPr id="5" name="Picture 4" descr="A white and orange striped surface&#10;&#10;Description automatically generated">
            <a:extLst>
              <a:ext uri="{FF2B5EF4-FFF2-40B4-BE49-F238E27FC236}">
                <a16:creationId xmlns:a16="http://schemas.microsoft.com/office/drawing/2014/main" id="{2A470024-5F50-F5EC-3704-DC57BDDBDF2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302" y="-394"/>
            <a:ext cx="12184602" cy="6858000"/>
          </a:xfrm>
          <a:prstGeom prst="rect">
            <a:avLst/>
          </a:prstGeom>
        </p:spPr>
      </p:pic>
      <p:sp>
        <p:nvSpPr>
          <p:cNvPr id="149" name="TextBox 148">
            <a:extLst>
              <a:ext uri="{FF2B5EF4-FFF2-40B4-BE49-F238E27FC236}">
                <a16:creationId xmlns:a16="http://schemas.microsoft.com/office/drawing/2014/main" id="{BB4ADCC4-3A3E-4214-91E5-575D154E19A4}"/>
              </a:ext>
            </a:extLst>
          </p:cNvPr>
          <p:cNvSpPr txBox="1"/>
          <p:nvPr/>
        </p:nvSpPr>
        <p:spPr>
          <a:xfrm>
            <a:off x="94013" y="273964"/>
            <a:ext cx="3541614" cy="719882"/>
          </a:xfrm>
          <a:prstGeom prst="rect">
            <a:avLst/>
          </a:prstGeom>
          <a:noFill/>
          <a:effectLst>
            <a:outerShdw blurRad="12700" dist="127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40" tIns="45720" rIns="91440" bIns="57600" rtlCol="0">
            <a:spAutoFit/>
          </a:bodyPr>
          <a:lstStyle/>
          <a:p>
            <a:pPr algn="ctr"/>
            <a:r>
              <a:rPr lang="en-US" sz="4000" b="1">
                <a:solidFill>
                  <a:srgbClr val="C0000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KẾT LUẬN</a:t>
            </a:r>
            <a:endParaRPr lang="en-US" sz="4000" b="1" dirty="0">
              <a:solidFill>
                <a:srgbClr val="C00000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Right Arrow 3">
            <a:extLst>
              <a:ext uri="{FF2B5EF4-FFF2-40B4-BE49-F238E27FC236}">
                <a16:creationId xmlns:a16="http://schemas.microsoft.com/office/drawing/2014/main" id="{62CD45AD-2C14-4802-87FB-7520488E41DE}"/>
              </a:ext>
            </a:extLst>
          </p:cNvPr>
          <p:cNvSpPr/>
          <p:nvPr/>
        </p:nvSpPr>
        <p:spPr>
          <a:xfrm>
            <a:off x="81572" y="2532839"/>
            <a:ext cx="3960071" cy="2375604"/>
          </a:xfrm>
          <a:prstGeom prst="rightArrow">
            <a:avLst>
              <a:gd name="adj1" fmla="val 73994"/>
              <a:gd name="adj2" fmla="val 38003"/>
            </a:avLst>
          </a:prstGeom>
          <a:solidFill>
            <a:srgbClr val="C00000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vi-VN" sz="2400" b="1">
                <a:solidFill>
                  <a:srgbClr val="FFFF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huyển đổi số</a:t>
            </a:r>
            <a:r>
              <a:rPr lang="en-US" sz="2400" b="1">
                <a:solidFill>
                  <a:srgbClr val="FFFF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2400" b="1">
                <a:solidFill>
                  <a:srgbClr val="FFFF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vi-VN" sz="2200" b="1">
                <a:solidFill>
                  <a:srgbClr val="FFFF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Đổi mới toàn diện </a:t>
            </a:r>
            <a:r>
              <a:rPr lang="en-US" sz="2200" b="1">
                <a:solidFill>
                  <a:srgbClr val="FFFF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2200" b="1">
                <a:solidFill>
                  <a:srgbClr val="FFFF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vi-VN" sz="2200" b="1">
                <a:solidFill>
                  <a:srgbClr val="FFFF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ư duy và phương thức phục vụ Nhân dân</a:t>
            </a:r>
            <a:endParaRPr lang="en-US" sz="2200" b="1" dirty="0">
              <a:solidFill>
                <a:srgbClr val="FFFF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Rounded Rectangle 4">
            <a:extLst>
              <a:ext uri="{FF2B5EF4-FFF2-40B4-BE49-F238E27FC236}">
                <a16:creationId xmlns:a16="http://schemas.microsoft.com/office/drawing/2014/main" id="{23FD16A5-CB75-474F-8CF7-3AA2D090996D}"/>
              </a:ext>
            </a:extLst>
          </p:cNvPr>
          <p:cNvSpPr/>
          <p:nvPr/>
        </p:nvSpPr>
        <p:spPr>
          <a:xfrm>
            <a:off x="4041643" y="1015455"/>
            <a:ext cx="7896357" cy="5212989"/>
          </a:xfrm>
          <a:prstGeom prst="roundRect">
            <a:avLst>
              <a:gd name="adj" fmla="val 10416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/>
          </a:p>
        </p:txBody>
      </p:sp>
      <p:sp>
        <p:nvSpPr>
          <p:cNvPr id="17" name="Rounded Rectangle 11">
            <a:extLst>
              <a:ext uri="{FF2B5EF4-FFF2-40B4-BE49-F238E27FC236}">
                <a16:creationId xmlns:a16="http://schemas.microsoft.com/office/drawing/2014/main" id="{577801C6-935F-4A7C-9A01-92DB968E17FE}"/>
              </a:ext>
            </a:extLst>
          </p:cNvPr>
          <p:cNvSpPr/>
          <p:nvPr/>
        </p:nvSpPr>
        <p:spPr>
          <a:xfrm>
            <a:off x="4141217" y="1092200"/>
            <a:ext cx="7705348" cy="5029200"/>
          </a:xfrm>
          <a:custGeom>
            <a:avLst/>
            <a:gdLst/>
            <a:ahLst/>
            <a:cxnLst/>
            <a:rect l="l" t="t" r="r" b="b"/>
            <a:pathLst>
              <a:path w="4320480" h="1296000">
                <a:moveTo>
                  <a:pt x="291768" y="0"/>
                </a:moveTo>
                <a:lnTo>
                  <a:pt x="4028712" y="0"/>
                </a:lnTo>
                <a:cubicBezTo>
                  <a:pt x="4189851" y="0"/>
                  <a:pt x="4320480" y="130629"/>
                  <a:pt x="4320480" y="291768"/>
                </a:cubicBezTo>
                <a:lnTo>
                  <a:pt x="4320480" y="1004232"/>
                </a:lnTo>
                <a:cubicBezTo>
                  <a:pt x="4320480" y="1165371"/>
                  <a:pt x="4189851" y="1296000"/>
                  <a:pt x="4028712" y="1296000"/>
                </a:cubicBezTo>
                <a:lnTo>
                  <a:pt x="291768" y="1296000"/>
                </a:lnTo>
                <a:cubicBezTo>
                  <a:pt x="130629" y="1296000"/>
                  <a:pt x="0" y="1165371"/>
                  <a:pt x="0" y="1004232"/>
                </a:cubicBezTo>
                <a:lnTo>
                  <a:pt x="0" y="769158"/>
                </a:lnTo>
                <a:lnTo>
                  <a:pt x="401179" y="769158"/>
                </a:lnTo>
                <a:lnTo>
                  <a:pt x="401179" y="890316"/>
                </a:lnTo>
                <a:lnTo>
                  <a:pt x="643495" y="648000"/>
                </a:lnTo>
                <a:lnTo>
                  <a:pt x="401179" y="405684"/>
                </a:lnTo>
                <a:lnTo>
                  <a:pt x="401179" y="526842"/>
                </a:lnTo>
                <a:lnTo>
                  <a:pt x="0" y="526842"/>
                </a:lnTo>
                <a:lnTo>
                  <a:pt x="0" y="291768"/>
                </a:lnTo>
                <a:cubicBezTo>
                  <a:pt x="0" y="130629"/>
                  <a:pt x="130629" y="0"/>
                  <a:pt x="291768" y="0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914400" algn="just"/>
            <a:endParaRPr lang="en-US" sz="22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B2CF284-4A44-4C19-82B7-0C45DAAC7CF1}"/>
              </a:ext>
            </a:extLst>
          </p:cNvPr>
          <p:cNvGrpSpPr/>
          <p:nvPr/>
        </p:nvGrpSpPr>
        <p:grpSpPr>
          <a:xfrm rot="1804820">
            <a:off x="1433051" y="440597"/>
            <a:ext cx="2095884" cy="2704095"/>
            <a:chOff x="794796" y="1552872"/>
            <a:chExt cx="4243140" cy="4286977"/>
          </a:xfrm>
        </p:grpSpPr>
        <p:sp>
          <p:nvSpPr>
            <p:cNvPr id="22" name="Curved Up Arrow 1">
              <a:extLst>
                <a:ext uri="{FF2B5EF4-FFF2-40B4-BE49-F238E27FC236}">
                  <a16:creationId xmlns:a16="http://schemas.microsoft.com/office/drawing/2014/main" id="{CA45EFCC-AE5F-4178-B861-83AC1F487886}"/>
                </a:ext>
              </a:extLst>
            </p:cNvPr>
            <p:cNvSpPr/>
            <p:nvPr/>
          </p:nvSpPr>
          <p:spPr>
            <a:xfrm>
              <a:off x="794796" y="1552872"/>
              <a:ext cx="4243140" cy="4286977"/>
            </a:xfrm>
            <a:custGeom>
              <a:avLst/>
              <a:gdLst>
                <a:gd name="connsiteX0" fmla="*/ 467810 w 635736"/>
                <a:gd name="connsiteY0" fmla="*/ 0 h 731523"/>
                <a:gd name="connsiteX1" fmla="*/ 635736 w 635736"/>
                <a:gd name="connsiteY1" fmla="*/ 182880 h 731523"/>
                <a:gd name="connsiteX2" fmla="*/ 544296 w 635736"/>
                <a:gd name="connsiteY2" fmla="*/ 182880 h 731523"/>
                <a:gd name="connsiteX3" fmla="*/ 87404 w 635736"/>
                <a:gd name="connsiteY3" fmla="*/ 731520 h 731523"/>
                <a:gd name="connsiteX4" fmla="*/ 0 w 635736"/>
                <a:gd name="connsiteY4" fmla="*/ 731520 h 731523"/>
                <a:gd name="connsiteX5" fmla="*/ 0 w 635736"/>
                <a:gd name="connsiteY5" fmla="*/ 718075 h 731523"/>
                <a:gd name="connsiteX6" fmla="*/ 0 w 635736"/>
                <a:gd name="connsiteY6" fmla="*/ 716278 h 731523"/>
                <a:gd name="connsiteX7" fmla="*/ 361416 w 635736"/>
                <a:gd name="connsiteY7" fmla="*/ 182880 h 731523"/>
                <a:gd name="connsiteX8" fmla="*/ 269976 w 635736"/>
                <a:gd name="connsiteY8" fmla="*/ 182880 h 731523"/>
                <a:gd name="connsiteX9" fmla="*/ 467810 w 635736"/>
                <a:gd name="connsiteY9" fmla="*/ 0 h 731523"/>
                <a:gd name="connsiteX0" fmla="*/ 467810 w 635736"/>
                <a:gd name="connsiteY0" fmla="*/ 0 h 731523"/>
                <a:gd name="connsiteX1" fmla="*/ 635736 w 635736"/>
                <a:gd name="connsiteY1" fmla="*/ 182880 h 731523"/>
                <a:gd name="connsiteX2" fmla="*/ 544296 w 635736"/>
                <a:gd name="connsiteY2" fmla="*/ 182880 h 731523"/>
                <a:gd name="connsiteX3" fmla="*/ 87404 w 635736"/>
                <a:gd name="connsiteY3" fmla="*/ 731520 h 731523"/>
                <a:gd name="connsiteX4" fmla="*/ 0 w 635736"/>
                <a:gd name="connsiteY4" fmla="*/ 731520 h 731523"/>
                <a:gd name="connsiteX5" fmla="*/ 0 w 635736"/>
                <a:gd name="connsiteY5" fmla="*/ 716278 h 731523"/>
                <a:gd name="connsiteX6" fmla="*/ 361416 w 635736"/>
                <a:gd name="connsiteY6" fmla="*/ 182880 h 731523"/>
                <a:gd name="connsiteX7" fmla="*/ 269976 w 635736"/>
                <a:gd name="connsiteY7" fmla="*/ 182880 h 731523"/>
                <a:gd name="connsiteX8" fmla="*/ 467810 w 635736"/>
                <a:gd name="connsiteY8" fmla="*/ 0 h 731523"/>
                <a:gd name="connsiteX0" fmla="*/ 582986 w 750912"/>
                <a:gd name="connsiteY0" fmla="*/ 0 h 736598"/>
                <a:gd name="connsiteX1" fmla="*/ 750912 w 750912"/>
                <a:gd name="connsiteY1" fmla="*/ 182880 h 736598"/>
                <a:gd name="connsiteX2" fmla="*/ 659472 w 750912"/>
                <a:gd name="connsiteY2" fmla="*/ 182880 h 736598"/>
                <a:gd name="connsiteX3" fmla="*/ 202580 w 750912"/>
                <a:gd name="connsiteY3" fmla="*/ 731520 h 736598"/>
                <a:gd name="connsiteX4" fmla="*/ 0 w 750912"/>
                <a:gd name="connsiteY4" fmla="*/ 736598 h 736598"/>
                <a:gd name="connsiteX5" fmla="*/ 115176 w 750912"/>
                <a:gd name="connsiteY5" fmla="*/ 716278 h 736598"/>
                <a:gd name="connsiteX6" fmla="*/ 476592 w 750912"/>
                <a:gd name="connsiteY6" fmla="*/ 182880 h 736598"/>
                <a:gd name="connsiteX7" fmla="*/ 385152 w 750912"/>
                <a:gd name="connsiteY7" fmla="*/ 182880 h 736598"/>
                <a:gd name="connsiteX8" fmla="*/ 582986 w 750912"/>
                <a:gd name="connsiteY8" fmla="*/ 0 h 736598"/>
                <a:gd name="connsiteX0" fmla="*/ 582986 w 750912"/>
                <a:gd name="connsiteY0" fmla="*/ 0 h 736598"/>
                <a:gd name="connsiteX1" fmla="*/ 750912 w 750912"/>
                <a:gd name="connsiteY1" fmla="*/ 182880 h 736598"/>
                <a:gd name="connsiteX2" fmla="*/ 659472 w 750912"/>
                <a:gd name="connsiteY2" fmla="*/ 182880 h 736598"/>
                <a:gd name="connsiteX3" fmla="*/ 202580 w 750912"/>
                <a:gd name="connsiteY3" fmla="*/ 731520 h 736598"/>
                <a:gd name="connsiteX4" fmla="*/ 0 w 750912"/>
                <a:gd name="connsiteY4" fmla="*/ 736598 h 736598"/>
                <a:gd name="connsiteX5" fmla="*/ 115176 w 750912"/>
                <a:gd name="connsiteY5" fmla="*/ 716278 h 736598"/>
                <a:gd name="connsiteX6" fmla="*/ 476592 w 750912"/>
                <a:gd name="connsiteY6" fmla="*/ 182880 h 736598"/>
                <a:gd name="connsiteX7" fmla="*/ 385152 w 750912"/>
                <a:gd name="connsiteY7" fmla="*/ 182880 h 736598"/>
                <a:gd name="connsiteX8" fmla="*/ 582986 w 750912"/>
                <a:gd name="connsiteY8" fmla="*/ 0 h 736598"/>
                <a:gd name="connsiteX0" fmla="*/ 582986 w 750912"/>
                <a:gd name="connsiteY0" fmla="*/ 0 h 736598"/>
                <a:gd name="connsiteX1" fmla="*/ 750912 w 750912"/>
                <a:gd name="connsiteY1" fmla="*/ 182880 h 736598"/>
                <a:gd name="connsiteX2" fmla="*/ 659472 w 750912"/>
                <a:gd name="connsiteY2" fmla="*/ 182880 h 736598"/>
                <a:gd name="connsiteX3" fmla="*/ 202580 w 750912"/>
                <a:gd name="connsiteY3" fmla="*/ 731520 h 736598"/>
                <a:gd name="connsiteX4" fmla="*/ 0 w 750912"/>
                <a:gd name="connsiteY4" fmla="*/ 736598 h 736598"/>
                <a:gd name="connsiteX5" fmla="*/ 115176 w 750912"/>
                <a:gd name="connsiteY5" fmla="*/ 716278 h 736598"/>
                <a:gd name="connsiteX6" fmla="*/ 476592 w 750912"/>
                <a:gd name="connsiteY6" fmla="*/ 182880 h 736598"/>
                <a:gd name="connsiteX7" fmla="*/ 385152 w 750912"/>
                <a:gd name="connsiteY7" fmla="*/ 182880 h 736598"/>
                <a:gd name="connsiteX8" fmla="*/ 582986 w 750912"/>
                <a:gd name="connsiteY8" fmla="*/ 0 h 736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50912" h="736598">
                  <a:moveTo>
                    <a:pt x="582986" y="0"/>
                  </a:moveTo>
                  <a:lnTo>
                    <a:pt x="750912" y="182880"/>
                  </a:lnTo>
                  <a:lnTo>
                    <a:pt x="659472" y="182880"/>
                  </a:lnTo>
                  <a:cubicBezTo>
                    <a:pt x="604805" y="511774"/>
                    <a:pt x="413733" y="732568"/>
                    <a:pt x="202580" y="731520"/>
                  </a:cubicBezTo>
                  <a:lnTo>
                    <a:pt x="0" y="736598"/>
                  </a:lnTo>
                  <a:cubicBezTo>
                    <a:pt x="38392" y="729825"/>
                    <a:pt x="73200" y="726606"/>
                    <a:pt x="115176" y="716278"/>
                  </a:cubicBezTo>
                  <a:cubicBezTo>
                    <a:pt x="291341" y="660491"/>
                    <a:pt x="431613" y="453492"/>
                    <a:pt x="476592" y="182880"/>
                  </a:cubicBezTo>
                  <a:lnTo>
                    <a:pt x="385152" y="182880"/>
                  </a:lnTo>
                  <a:lnTo>
                    <a:pt x="582986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2700">
                <a:solidFill>
                  <a:schemeClr val="tx1"/>
                </a:solidFill>
              </a:endParaRPr>
            </a:p>
          </p:txBody>
        </p:sp>
        <p:sp>
          <p:nvSpPr>
            <p:cNvPr id="23" name="Curved Up Arrow 1">
              <a:extLst>
                <a:ext uri="{FF2B5EF4-FFF2-40B4-BE49-F238E27FC236}">
                  <a16:creationId xmlns:a16="http://schemas.microsoft.com/office/drawing/2014/main" id="{78FCDDEC-D939-4588-8F1F-2D5C3FA47955}"/>
                </a:ext>
              </a:extLst>
            </p:cNvPr>
            <p:cNvSpPr/>
            <p:nvPr/>
          </p:nvSpPr>
          <p:spPr>
            <a:xfrm>
              <a:off x="2608239" y="1552872"/>
              <a:ext cx="2429697" cy="3278977"/>
            </a:xfrm>
            <a:custGeom>
              <a:avLst/>
              <a:gdLst/>
              <a:ahLst/>
              <a:cxnLst/>
              <a:rect l="l" t="t" r="r" b="b"/>
              <a:pathLst>
                <a:path w="2429697" h="3278977">
                  <a:moveTo>
                    <a:pt x="1480806" y="0"/>
                  </a:moveTo>
                  <a:lnTo>
                    <a:pt x="2429697" y="1064356"/>
                  </a:lnTo>
                  <a:lnTo>
                    <a:pt x="1913002" y="1064356"/>
                  </a:lnTo>
                  <a:cubicBezTo>
                    <a:pt x="1767557" y="1965619"/>
                    <a:pt x="1451237" y="2727407"/>
                    <a:pt x="1030480" y="3278977"/>
                  </a:cubicBezTo>
                  <a:lnTo>
                    <a:pt x="0" y="3278977"/>
                  </a:lnTo>
                  <a:cubicBezTo>
                    <a:pt x="423651" y="2718190"/>
                    <a:pt x="736725" y="1949779"/>
                    <a:pt x="879611" y="1064356"/>
                  </a:cubicBezTo>
                  <a:lnTo>
                    <a:pt x="362916" y="1064356"/>
                  </a:ln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2700" dirty="0">
                <a:solidFill>
                  <a:schemeClr val="tx1"/>
                </a:solidFill>
              </a:endParaRPr>
            </a:p>
          </p:txBody>
        </p:sp>
        <p:sp>
          <p:nvSpPr>
            <p:cNvPr id="24" name="Curved Up Arrow 1">
              <a:extLst>
                <a:ext uri="{FF2B5EF4-FFF2-40B4-BE49-F238E27FC236}">
                  <a16:creationId xmlns:a16="http://schemas.microsoft.com/office/drawing/2014/main" id="{8633EE6A-9292-45FB-8BAF-EA11C4C69265}"/>
                </a:ext>
              </a:extLst>
            </p:cNvPr>
            <p:cNvSpPr/>
            <p:nvPr/>
          </p:nvSpPr>
          <p:spPr>
            <a:xfrm>
              <a:off x="2971155" y="1552872"/>
              <a:ext cx="2066781" cy="2270977"/>
            </a:xfrm>
            <a:custGeom>
              <a:avLst/>
              <a:gdLst/>
              <a:ahLst/>
              <a:cxnLst/>
              <a:rect l="l" t="t" r="r" b="b"/>
              <a:pathLst>
                <a:path w="2066781" h="2270977">
                  <a:moveTo>
                    <a:pt x="1117890" y="0"/>
                  </a:moveTo>
                  <a:lnTo>
                    <a:pt x="2066781" y="1064356"/>
                  </a:lnTo>
                  <a:lnTo>
                    <a:pt x="1550086" y="1064356"/>
                  </a:lnTo>
                  <a:cubicBezTo>
                    <a:pt x="1479389" y="1502438"/>
                    <a:pt x="1368319" y="1907566"/>
                    <a:pt x="1222656" y="2270977"/>
                  </a:cubicBezTo>
                  <a:lnTo>
                    <a:pt x="189248" y="2270977"/>
                  </a:lnTo>
                  <a:cubicBezTo>
                    <a:pt x="335680" y="1904432"/>
                    <a:pt x="446642" y="1498457"/>
                    <a:pt x="516695" y="1064356"/>
                  </a:cubicBezTo>
                  <a:lnTo>
                    <a:pt x="0" y="1064356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2700">
                <a:solidFill>
                  <a:schemeClr val="tx1"/>
                </a:solidFill>
              </a:endParaRPr>
            </a:p>
          </p:txBody>
        </p:sp>
        <p:sp>
          <p:nvSpPr>
            <p:cNvPr id="25" name="Curved Up Arrow 1">
              <a:extLst>
                <a:ext uri="{FF2B5EF4-FFF2-40B4-BE49-F238E27FC236}">
                  <a16:creationId xmlns:a16="http://schemas.microsoft.com/office/drawing/2014/main" id="{08D7AFFB-3197-46B7-8D08-E0BFC34D319D}"/>
                </a:ext>
              </a:extLst>
            </p:cNvPr>
            <p:cNvSpPr/>
            <p:nvPr/>
          </p:nvSpPr>
          <p:spPr>
            <a:xfrm>
              <a:off x="2971155" y="1552872"/>
              <a:ext cx="2066781" cy="1262977"/>
            </a:xfrm>
            <a:custGeom>
              <a:avLst/>
              <a:gdLst/>
              <a:ahLst/>
              <a:cxnLst/>
              <a:rect l="l" t="t" r="r" b="b"/>
              <a:pathLst>
                <a:path w="2066781" h="1262977">
                  <a:moveTo>
                    <a:pt x="1117890" y="0"/>
                  </a:moveTo>
                  <a:lnTo>
                    <a:pt x="2066781" y="1064356"/>
                  </a:lnTo>
                  <a:lnTo>
                    <a:pt x="1550086" y="1064356"/>
                  </a:lnTo>
                  <a:lnTo>
                    <a:pt x="1512330" y="1262977"/>
                  </a:lnTo>
                  <a:lnTo>
                    <a:pt x="479897" y="1262977"/>
                  </a:lnTo>
                  <a:cubicBezTo>
                    <a:pt x="494102" y="1197656"/>
                    <a:pt x="505885" y="1131341"/>
                    <a:pt x="516695" y="1064356"/>
                  </a:cubicBezTo>
                  <a:lnTo>
                    <a:pt x="0" y="1064356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2700">
                <a:solidFill>
                  <a:schemeClr val="tx1"/>
                </a:solidFill>
              </a:endParaRPr>
            </a:p>
          </p:txBody>
        </p:sp>
      </p:grpSp>
      <p:pic>
        <p:nvPicPr>
          <p:cNvPr id="20" name="Picture 19" descr="A light in the dark&#10;&#10;AI-generated content may be incorrect.">
            <a:extLst>
              <a:ext uri="{FF2B5EF4-FFF2-40B4-BE49-F238E27FC236}">
                <a16:creationId xmlns:a16="http://schemas.microsoft.com/office/drawing/2014/main" id="{A4D36198-13C8-4A45-BE13-03B3DE00649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95" r="21649"/>
          <a:stretch>
            <a:fillRect/>
          </a:stretch>
        </p:blipFill>
        <p:spPr>
          <a:xfrm rot="20666481">
            <a:off x="2035866" y="878154"/>
            <a:ext cx="2105846" cy="2083389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AE0F4336-1E53-4C94-B9F9-64022E9A4E9B}"/>
              </a:ext>
            </a:extLst>
          </p:cNvPr>
          <p:cNvSpPr txBox="1"/>
          <p:nvPr/>
        </p:nvSpPr>
        <p:spPr>
          <a:xfrm>
            <a:off x="5300502" y="1459599"/>
            <a:ext cx="6361112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US" sz="20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huyển đổi số trong hệ thống chính trị </a:t>
            </a:r>
            <a:r>
              <a:rPr lang="en-US" sz="2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hông chỉ là </a:t>
            </a:r>
            <a:r>
              <a:rPr lang="en-US" sz="20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ứng dụng công nghệ</a:t>
            </a:r>
            <a:r>
              <a:rPr lang="en-US" sz="2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mà là </a:t>
            </a:r>
            <a:r>
              <a:rPr lang="en-US" sz="20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đổi mới toàn diện tư duy lãnh đạo, phương thức làm việc và phong cách phục vụ Nhân dân</a:t>
            </a:r>
            <a:r>
              <a:rPr lang="en-US" sz="2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- hướng tới một </a:t>
            </a:r>
            <a:r>
              <a:rPr lang="en-US" sz="20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ệ thống chính trị liêm chính, hiệu lực, hiệu quả, gần dân, vì dân</a:t>
            </a:r>
            <a:r>
              <a:rPr lang="en-US" sz="2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  <a:p>
            <a:pPr marL="342900" indent="-34290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US" sz="20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in tưởng rằng</a:t>
            </a:r>
            <a:r>
              <a:rPr lang="en-US" sz="2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với </a:t>
            </a:r>
            <a:r>
              <a:rPr lang="en-US" sz="20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ự lãnh đạo thống nhất của Đảng, sự phối hợp của các cấp, các ngành</a:t>
            </a:r>
            <a:r>
              <a:rPr lang="en-US" sz="2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ự đồng hành của các doanh nghiệp và toàn dân, chuyển đổi số trong hệ thống chính trị sẽ trở thành động lực chủ đạo cho </a:t>
            </a:r>
            <a:r>
              <a:rPr lang="en-US" sz="2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xây dựng </a:t>
            </a:r>
            <a:r>
              <a:rPr lang="en-US" sz="20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ền quản trị quốc gia hiện đại, tinh gọn, phục vụ Nhân dân ngày càng tốt hơn</a:t>
            </a:r>
            <a:r>
              <a:rPr lang="en-US" sz="2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3930547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506</TotalTime>
  <Words>1127</Words>
  <Application>Microsoft Office PowerPoint</Application>
  <PresentationFormat>Widescreen</PresentationFormat>
  <Paragraphs>60</Paragraphs>
  <Slides>6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5" baseType="lpstr">
      <vt:lpstr>맑은 고딕</vt:lpstr>
      <vt:lpstr>Arial</vt:lpstr>
      <vt:lpstr>Calibri</vt:lpstr>
      <vt:lpstr>Calibri Light</vt:lpstr>
      <vt:lpstr>MiSans Heavy</vt:lpstr>
      <vt:lpstr>Segoe UI</vt:lpstr>
      <vt:lpstr>Segoe UI Black</vt:lpstr>
      <vt:lpstr>Wingdings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PTW Đảng-Thamluan NgayCĐS 10.10-BKHCN</dc:title>
  <dc:creator>MTHAI</dc:creator>
  <cp:lastModifiedBy>MTHAI</cp:lastModifiedBy>
  <cp:revision>646</cp:revision>
  <dcterms:created xsi:type="dcterms:W3CDTF">2021-07-05T08:52:00Z</dcterms:created>
  <dcterms:modified xsi:type="dcterms:W3CDTF">2025-10-20T09:10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6CF498F9B29A47A68DC303470E4341D9</vt:lpwstr>
  </property>
  <property fmtid="{D5CDD505-2E9C-101B-9397-08002B2CF9AE}" pid="3" name="KSOProductBuildVer">
    <vt:lpwstr>1033-11.2.0.10426</vt:lpwstr>
  </property>
</Properties>
</file>